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81" r:id="rId2"/>
  </p:sldMasterIdLst>
  <p:notesMasterIdLst>
    <p:notesMasterId r:id="rId19"/>
  </p:notesMasterIdLst>
  <p:handoutMasterIdLst>
    <p:handoutMasterId r:id="rId20"/>
  </p:handoutMasterIdLst>
  <p:sldIdLst>
    <p:sldId id="256" r:id="rId3"/>
    <p:sldId id="522" r:id="rId4"/>
    <p:sldId id="499" r:id="rId5"/>
    <p:sldId id="506" r:id="rId6"/>
    <p:sldId id="507" r:id="rId7"/>
    <p:sldId id="508" r:id="rId8"/>
    <p:sldId id="509" r:id="rId9"/>
    <p:sldId id="510" r:id="rId10"/>
    <p:sldId id="511" r:id="rId11"/>
    <p:sldId id="512" r:id="rId12"/>
    <p:sldId id="513" r:id="rId13"/>
    <p:sldId id="514" r:id="rId14"/>
    <p:sldId id="521" r:id="rId15"/>
    <p:sldId id="516" r:id="rId16"/>
    <p:sldId id="517" r:id="rId17"/>
    <p:sldId id="518" r:id="rId18"/>
  </p:sldIdLst>
  <p:sldSz cx="12192000" cy="6858000"/>
  <p:notesSz cx="7315200" cy="9601200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9D9D28-1FD4-406F-8922-9160CAB20C5A}" v="447" dt="2026-07-11T18:38:34.925"/>
    <p1510:client id="{4A121745-E7B3-4231-B210-29EBB0163567}" v="439" dt="2026-07-11T17:09:39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5768" autoAdjust="0"/>
  </p:normalViewPr>
  <p:slideViewPr>
    <p:cSldViewPr snapToGrid="0">
      <p:cViewPr varScale="1">
        <p:scale>
          <a:sx n="41" d="100"/>
          <a:sy n="41" d="100"/>
        </p:scale>
        <p:origin x="44" y="6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172"/>
    </p:cViewPr>
  </p:sorterViewPr>
  <p:notesViewPr>
    <p:cSldViewPr snapToGrid="0">
      <p:cViewPr varScale="1">
        <p:scale>
          <a:sx n="117" d="100"/>
          <a:sy n="117" d="100"/>
        </p:scale>
        <p:origin x="2064" y="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6/11/relationships/changesInfo" Target="changesInfos/changesInfo1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n Bleeker Pedersen" userId="34252400-a232-4440-8831-8cadcf57ce35" providerId="ADAL" clId="{5D18C0C2-102A-4970-B33C-1D15BE2F2270}"/>
    <pc:docChg chg="undo custSel addSld delSld modSld addMainMaster modMainMaster addSection delSection">
      <pc:chgData name="Dann Bleeker Pedersen" userId="34252400-a232-4440-8831-8cadcf57ce35" providerId="ADAL" clId="{5D18C0C2-102A-4970-B33C-1D15BE2F2270}" dt="2026-07-11T18:38:34.925" v="2990"/>
      <pc:docMkLst>
        <pc:docMk/>
      </pc:docMkLst>
      <pc:sldChg chg="addSp modSp mod">
        <pc:chgData name="Dann Bleeker Pedersen" userId="34252400-a232-4440-8831-8cadcf57ce35" providerId="ADAL" clId="{5D18C0C2-102A-4970-B33C-1D15BE2F2270}" dt="2026-07-11T18:38:34.163" v="2986"/>
        <pc:sldMkLst>
          <pc:docMk/>
          <pc:sldMk cId="542153020" sldId="256"/>
        </pc:sldMkLst>
        <pc:spChg chg="mod">
          <ac:chgData name="Dann Bleeker Pedersen" userId="34252400-a232-4440-8831-8cadcf57ce35" providerId="ADAL" clId="{5D18C0C2-102A-4970-B33C-1D15BE2F2270}" dt="2026-07-11T16:57:46.011" v="15" actId="948"/>
          <ac:spMkLst>
            <pc:docMk/>
            <pc:sldMk cId="542153020" sldId="256"/>
            <ac:spMk id="5" creationId="{D4469AD6-8E34-4AA2-8874-827559293A16}"/>
          </ac:spMkLst>
        </pc:spChg>
        <pc:spChg chg="mod">
          <ac:chgData name="Dann Bleeker Pedersen" userId="34252400-a232-4440-8831-8cadcf57ce35" providerId="ADAL" clId="{5D18C0C2-102A-4970-B33C-1D15BE2F2270}" dt="2026-07-11T17:40:20.128" v="1146" actId="20577"/>
          <ac:spMkLst>
            <pc:docMk/>
            <pc:sldMk cId="542153020" sldId="256"/>
            <ac:spMk id="6" creationId="{A0F8534B-CCA8-4A2C-9A0E-A0613E69566D}"/>
          </ac:spMkLst>
        </pc:spChg>
        <pc:graphicFrameChg chg="mod">
          <ac:chgData name="Dann Bleeker Pedersen" userId="34252400-a232-4440-8831-8cadcf57ce35" providerId="ADAL" clId="{5D18C0C2-102A-4970-B33C-1D15BE2F2270}" dt="2026-07-11T18:38:34.163" v="2986"/>
          <ac:graphicFrameMkLst>
            <pc:docMk/>
            <pc:sldMk cId="542153020" sldId="256"/>
            <ac:graphicFrameMk id="2" creationId="{F2366485-B60E-424B-A5E8-D8D1745B0335}"/>
          </ac:graphicFrameMkLst>
        </pc:graphicFrameChg>
        <pc:graphicFrameChg chg="add mod">
          <ac:chgData name="Dann Bleeker Pedersen" userId="34252400-a232-4440-8831-8cadcf57ce35" providerId="ADAL" clId="{5D18C0C2-102A-4970-B33C-1D15BE2F2270}" dt="2026-07-11T17:40:13.626" v="1137"/>
          <ac:graphicFrameMkLst>
            <pc:docMk/>
            <pc:sldMk cId="542153020" sldId="256"/>
            <ac:graphicFrameMk id="4" creationId="{98B004FB-A66A-446C-95A9-38B7C1893205}"/>
          </ac:graphicFrameMkLst>
        </pc:graphicFrameChg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972625955" sldId="257"/>
        </pc:sldMkLst>
      </pc:sldChg>
      <pc:sldChg chg="del">
        <pc:chgData name="Dann Bleeker Pedersen" userId="34252400-a232-4440-8831-8cadcf57ce35" providerId="ADAL" clId="{5D18C0C2-102A-4970-B33C-1D15BE2F2270}" dt="2026-07-11T16:58:28.575" v="20" actId="47"/>
        <pc:sldMkLst>
          <pc:docMk/>
          <pc:sldMk cId="4274519734" sldId="34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943930463" sldId="351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020716378" sldId="373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249430751" sldId="374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648339991" sldId="375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768373809" sldId="376"/>
        </pc:sldMkLst>
      </pc:sldChg>
      <pc:sldChg chg="del">
        <pc:chgData name="Dann Bleeker Pedersen" userId="34252400-a232-4440-8831-8cadcf57ce35" providerId="ADAL" clId="{5D18C0C2-102A-4970-B33C-1D15BE2F2270}" dt="2026-07-11T17:10:45.074" v="1075"/>
        <pc:sldMkLst>
          <pc:docMk/>
          <pc:sldMk cId="1456019505" sldId="377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956736646" sldId="378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916233395" sldId="380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707316418" sldId="381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333139158" sldId="38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98151888" sldId="383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2687327010" sldId="38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867975369" sldId="387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102427887" sldId="38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400722627" sldId="45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003842811" sldId="460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296669683" sldId="47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064288170" sldId="47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75618433" sldId="47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67627673" sldId="481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993530815" sldId="48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254147672" sldId="483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64568350" sldId="484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149684693" sldId="485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769069759" sldId="48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283483127" sldId="48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417831796" sldId="48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246369197" sldId="48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95388432" sldId="490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896925349" sldId="49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550798905" sldId="493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160117428" sldId="494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64908037" sldId="495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641140078" sldId="49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862387344" sldId="49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173200387" sldId="498"/>
        </pc:sldMkLst>
      </pc:sldChg>
      <pc:sldChg chg="addSp delSp modSp new mod modClrScheme chgLayout">
        <pc:chgData name="Dann Bleeker Pedersen" userId="34252400-a232-4440-8831-8cadcf57ce35" providerId="ADAL" clId="{5D18C0C2-102A-4970-B33C-1D15BE2F2270}" dt="2026-07-11T17:40:53.315" v="1162" actId="299"/>
        <pc:sldMkLst>
          <pc:docMk/>
          <pc:sldMk cId="3623608015" sldId="499"/>
        </pc:sldMkLst>
        <pc:spChg chg="del mod ord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2" creationId="{E059E4CC-D366-0842-92B3-D780E3035B01}"/>
          </ac:spMkLst>
        </pc:spChg>
        <pc:spChg chg="del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3" creationId="{EA77EF0D-0237-F0B0-AA14-FCF9AF927BDD}"/>
          </ac:spMkLst>
        </pc:spChg>
        <pc:spChg chg="mod ord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4" creationId="{F07E026C-F03F-38D1-B2D5-20A8F5DD642D}"/>
          </ac:spMkLst>
        </pc:spChg>
        <pc:spChg chg="add mod ord">
          <ac:chgData name="Dann Bleeker Pedersen" userId="34252400-a232-4440-8831-8cadcf57ce35" providerId="ADAL" clId="{5D18C0C2-102A-4970-B33C-1D15BE2F2270}" dt="2026-07-11T17:40:53.315" v="1162" actId="299"/>
          <ac:spMkLst>
            <pc:docMk/>
            <pc:sldMk cId="3623608015" sldId="499"/>
            <ac:spMk id="5" creationId="{E748DAAA-173D-BD33-DD92-23B299DCBC62}"/>
          </ac:spMkLst>
        </pc:spChg>
        <pc:spChg chg="add del mod">
          <ac:chgData name="Dann Bleeker Pedersen" userId="34252400-a232-4440-8831-8cadcf57ce35" providerId="ADAL" clId="{5D18C0C2-102A-4970-B33C-1D15BE2F2270}" dt="2026-07-11T17:40:31.901" v="1147" actId="478"/>
          <ac:spMkLst>
            <pc:docMk/>
            <pc:sldMk cId="3623608015" sldId="499"/>
            <ac:spMk id="8" creationId="{E3275A02-8949-59BC-5361-8DD15AEC1356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13" creationId="{90389883-2AF8-842B-8EE6-1F7E8A5A87D8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17" creationId="{1036125C-4A6E-221E-28DA-BDC092B59F39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26" creationId="{CB66547F-974F-EDD1-38F4-243DF46DDF2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27" creationId="{16ADA439-9A8F-5A41-0B52-D57BA0B247F4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33" creationId="{B982F8B2-F44F-4E66-62B0-CD78ED179FA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38" creationId="{483138FA-AD7A-71AD-ACC3-E5682F435F9D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1" creationId="{76EC1C61-0852-C80E-54A9-760D899DEBB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2" creationId="{70252B8C-F15D-3D6C-06C9-EF5435718CA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3" creationId="{41C3C7D9-0F0E-7BDA-F865-3C2AD10565A2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6" creationId="{7E9B8603-80E5-0A9B-0406-B3DC75168FEB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52" creationId="{28B4C702-DB37-8EA8-4823-8E8B6E8DA782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58" creationId="{6C57A474-BD7B-923A-0605-991406DFA34F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63" creationId="{F2ED755A-5736-0B85-50BF-E74D0376BCEB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67" creationId="{AE2A4DF9-B09D-3FE0-9105-CDF2EC15B6F0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6" creationId="{138FE32E-CB45-4715-52F2-F377499F0072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7" creationId="{E9ADC7B3-4F7B-6196-ECB2-95BE7C2C4F7F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8" creationId="{9B411E96-D8B7-3570-6F46-3959F86E608D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2" creationId="{B8292B35-753F-2799-371A-4280C1ABF20D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3" creationId="{C84E1B3C-BFFA-302C-4479-50741EA64D57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6" creationId="{BBBF76B1-38BD-AE1E-2B8E-51673E0267CC}"/>
          </ac:spMkLst>
        </pc:s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49" creationId="{F6AFE377-2658-BF9E-DA5B-9C44FA9E1158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54" creationId="{21D2D5E6-818B-5EF6-5C10-E81D77BAE81B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59" creationId="{35338822-441A-3BDC-3819-DD9271DF4FA7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64" creationId="{80EC8A64-9CCF-33FA-E195-AF831A10E563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69" creationId="{A622C505-6E01-10A0-2E1C-0161D73A6706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74" creationId="{9A1F7483-4B2C-048D-E3DC-9DA630592515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79" creationId="{CB1DABB5-1705-9675-A17F-75A13E32BB08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84" creationId="{925A024F-BD33-041A-3B45-378F87F7373C}"/>
          </ac:grpSpMkLst>
        </pc:grpChg>
        <pc:graphicFrameChg chg="add mod">
          <ac:chgData name="Dann Bleeker Pedersen" userId="34252400-a232-4440-8831-8cadcf57ce35" providerId="ADAL" clId="{5D18C0C2-102A-4970-B33C-1D15BE2F2270}" dt="2026-07-11T17:40:48.073" v="1149"/>
          <ac:graphicFrameMkLst>
            <pc:docMk/>
            <pc:sldMk cId="3623608015" sldId="499"/>
            <ac:graphicFrameMk id="2" creationId="{033B06A4-8B55-F44A-84E4-8CCF12D6E069}"/>
          </ac:graphicFrameMkLst>
        </pc:graphicFrameChg>
        <pc:graphicFrameChg chg="add mod ord modVis">
          <ac:chgData name="Dann Bleeker Pedersen" userId="34252400-a232-4440-8831-8cadcf57ce35" providerId="ADAL" clId="{5D18C0C2-102A-4970-B33C-1D15BE2F2270}" dt="2026-07-11T16:59:07.849" v="37"/>
          <ac:graphicFrameMkLst>
            <pc:docMk/>
            <pc:sldMk cId="3623608015" sldId="499"/>
            <ac:graphicFrameMk id="6" creationId="{56C04764-C227-690A-5265-762155F6825A}"/>
          </ac:graphicFrameMkLst>
        </pc:graphicFrameChg>
        <pc:graphicFrameChg chg="add del mod modGraphic">
          <ac:chgData name="Dann Bleeker Pedersen" userId="34252400-a232-4440-8831-8cadcf57ce35" providerId="ADAL" clId="{5D18C0C2-102A-4970-B33C-1D15BE2F2270}" dt="2026-07-11T17:40:37.843" v="1148" actId="478"/>
          <ac:graphicFrameMkLst>
            <pc:docMk/>
            <pc:sldMk cId="3623608015" sldId="499"/>
            <ac:graphicFrameMk id="7" creationId="{EE28A147-B997-C6E3-76D6-1DF5A9A89FE9}"/>
          </ac:graphicFrameMkLst>
        </pc:graphicFrameChg>
      </pc:sldChg>
      <pc:sldChg chg="addSp modSp new del mod">
        <pc:chgData name="Dann Bleeker Pedersen" userId="34252400-a232-4440-8831-8cadcf57ce35" providerId="ADAL" clId="{5D18C0C2-102A-4970-B33C-1D15BE2F2270}" dt="2026-07-11T17:41:07.259" v="1163" actId="47"/>
        <pc:sldMkLst>
          <pc:docMk/>
          <pc:sldMk cId="411994518" sldId="500"/>
        </pc:sldMkLst>
        <pc:spChg chg="mod ord">
          <ac:chgData name="Dann Bleeker Pedersen" userId="34252400-a232-4440-8831-8cadcf57ce35" providerId="ADAL" clId="{5D18C0C2-102A-4970-B33C-1D15BE2F2270}" dt="2026-07-11T17:06:28.548" v="569"/>
          <ac:spMkLst>
            <pc:docMk/>
            <pc:sldMk cId="411994518" sldId="500"/>
            <ac:spMk id="2" creationId="{869534CE-12F3-2AC9-3F72-31111F627913}"/>
          </ac:spMkLst>
        </pc:spChg>
        <pc:spChg chg="mod ord">
          <ac:chgData name="Dann Bleeker Pedersen" userId="34252400-a232-4440-8831-8cadcf57ce35" providerId="ADAL" clId="{5D18C0C2-102A-4970-B33C-1D15BE2F2270}" dt="2026-07-11T17:06:28.549" v="571"/>
          <ac:spMkLst>
            <pc:docMk/>
            <pc:sldMk cId="411994518" sldId="500"/>
            <ac:spMk id="3" creationId="{14F0436F-A6E2-B929-75FE-CC9DFC49EA57}"/>
          </ac:spMkLst>
        </pc:spChg>
        <pc:spChg chg="add mod ord">
          <ac:chgData name="Dann Bleeker Pedersen" userId="34252400-a232-4440-8831-8cadcf57ce35" providerId="ADAL" clId="{5D18C0C2-102A-4970-B33C-1D15BE2F2270}" dt="2026-07-11T17:06:28.561" v="611"/>
          <ac:spMkLst>
            <pc:docMk/>
            <pc:sldMk cId="411994518" sldId="500"/>
            <ac:spMk id="5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38.080" v="617" actId="14100"/>
          <ac:spMkLst>
            <pc:docMk/>
            <pc:sldMk cId="411994518" sldId="500"/>
            <ac:spMk id="6" creationId="{1C6C87F3-388A-3AD9-A780-E305C9258559}"/>
          </ac:spMkLst>
        </pc:spChg>
        <pc:spChg chg="add mod ord">
          <ac:chgData name="Dann Bleeker Pedersen" userId="34252400-a232-4440-8831-8cadcf57ce35" providerId="ADAL" clId="{5D18C0C2-102A-4970-B33C-1D15BE2F2270}" dt="2026-07-11T17:06:28.550" v="573"/>
          <ac:spMkLst>
            <pc:docMk/>
            <pc:sldMk cId="411994518" sldId="500"/>
            <ac:spMk id="28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0" v="575"/>
          <ac:spMkLst>
            <pc:docMk/>
            <pc:sldMk cId="411994518" sldId="500"/>
            <ac:spMk id="29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1" v="577"/>
          <ac:spMkLst>
            <pc:docMk/>
            <pc:sldMk cId="411994518" sldId="500"/>
            <ac:spMk id="30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1" v="579"/>
          <ac:spMkLst>
            <pc:docMk/>
            <pc:sldMk cId="411994518" sldId="500"/>
            <ac:spMk id="31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2" v="581"/>
          <ac:spMkLst>
            <pc:docMk/>
            <pc:sldMk cId="411994518" sldId="500"/>
            <ac:spMk id="32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2" v="583"/>
          <ac:spMkLst>
            <pc:docMk/>
            <pc:sldMk cId="411994518" sldId="500"/>
            <ac:spMk id="33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3" v="585"/>
          <ac:spMkLst>
            <pc:docMk/>
            <pc:sldMk cId="411994518" sldId="500"/>
            <ac:spMk id="34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3:00.601" v="204"/>
          <ac:spMkLst>
            <pc:docMk/>
            <pc:sldMk cId="411994518" sldId="500"/>
            <ac:spMk id="37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3:00.601" v="204"/>
          <ac:spMkLst>
            <pc:docMk/>
            <pc:sldMk cId="411994518" sldId="500"/>
            <ac:spMk id="39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4" v="589"/>
          <ac:spMkLst>
            <pc:docMk/>
            <pc:sldMk cId="411994518" sldId="500"/>
            <ac:spMk id="40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4" v="591"/>
          <ac:spMkLst>
            <pc:docMk/>
            <pc:sldMk cId="411994518" sldId="500"/>
            <ac:spMk id="41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5" v="593"/>
          <ac:spMkLst>
            <pc:docMk/>
            <pc:sldMk cId="411994518" sldId="500"/>
            <ac:spMk id="42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6" v="597"/>
          <ac:spMkLst>
            <pc:docMk/>
            <pc:sldMk cId="411994518" sldId="500"/>
            <ac:spMk id="44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7" v="599"/>
          <ac:spMkLst>
            <pc:docMk/>
            <pc:sldMk cId="411994518" sldId="500"/>
            <ac:spMk id="45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8" v="603"/>
          <ac:spMkLst>
            <pc:docMk/>
            <pc:sldMk cId="411994518" sldId="500"/>
            <ac:spMk id="47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60" v="607"/>
          <ac:spMkLst>
            <pc:docMk/>
            <pc:sldMk cId="411994518" sldId="500"/>
            <ac:spMk id="48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62" v="613"/>
          <ac:spMkLst>
            <pc:docMk/>
            <pc:sldMk cId="411994518" sldId="500"/>
            <ac:spMk id="59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1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5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6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7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8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9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0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1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2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3" creationId="{00000000-0000-0000-0000-000000000000}"/>
          </ac:spMkLst>
        </pc:spChg>
        <pc:grpChg chg="mod ord">
          <ac:chgData name="Dann Bleeker Pedersen" userId="34252400-a232-4440-8831-8cadcf57ce35" providerId="ADAL" clId="{5D18C0C2-102A-4970-B33C-1D15BE2F2270}" dt="2026-07-11T17:06:28.553" v="587"/>
          <ac:grpSpMkLst>
            <pc:docMk/>
            <pc:sldMk cId="411994518" sldId="500"/>
            <ac:grpSpMk id="35" creationId="{00000000-0000-0000-0000-000000000000}"/>
          </ac:grpSpMkLst>
        </pc:grpChg>
        <pc:grpChg chg="mod ord">
          <ac:chgData name="Dann Bleeker Pedersen" userId="34252400-a232-4440-8831-8cadcf57ce35" providerId="ADAL" clId="{5D18C0C2-102A-4970-B33C-1D15BE2F2270}" dt="2026-07-11T17:06:28.561" v="609"/>
          <ac:grpSpMkLst>
            <pc:docMk/>
            <pc:sldMk cId="411994518" sldId="500"/>
            <ac:grpSpMk id="54" creationId="{00000000-0000-0000-0000-000000000000}"/>
          </ac:grpSpMkLst>
        </pc:grpChg>
        <pc:grpChg chg="mod">
          <ac:chgData name="Dann Bleeker Pedersen" userId="34252400-a232-4440-8831-8cadcf57ce35" providerId="ADAL" clId="{5D18C0C2-102A-4970-B33C-1D15BE2F2270}" dt="2026-07-11T17:06:28.562" v="614"/>
          <ac:grpSpMkLst>
            <pc:docMk/>
            <pc:sldMk cId="411994518" sldId="500"/>
            <ac:grpSpMk id="60" creationId="{00000000-0000-0000-0000-000000000000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17:06:28.563" v="616"/>
          <ac:graphicFrameMkLst>
            <pc:docMk/>
            <pc:sldMk cId="411994518" sldId="500"/>
            <ac:graphicFrameMk id="4" creationId="{6230CC99-4C1A-53FE-3F41-42D194E1FAC8}"/>
          </ac:graphicFrameMkLst>
        </pc:graphicFrameChg>
        <pc:graphicFrameChg chg="mod ord modGraphic">
          <ac:chgData name="Dann Bleeker Pedersen" userId="34252400-a232-4440-8831-8cadcf57ce35" providerId="ADAL" clId="{5D18C0C2-102A-4970-B33C-1D15BE2F2270}" dt="2026-07-11T17:06:28.555" v="595"/>
          <ac:graphicFrameMkLst>
            <pc:docMk/>
            <pc:sldMk cId="411994518" sldId="500"/>
            <ac:graphicFrameMk id="43" creationId="{00000000-0000-0000-0000-000000000000}"/>
          </ac:graphicFrameMkLst>
        </pc:graphicFrameChg>
        <pc:graphicFrameChg chg="mod ord">
          <ac:chgData name="Dann Bleeker Pedersen" userId="34252400-a232-4440-8831-8cadcf57ce35" providerId="ADAL" clId="{5D18C0C2-102A-4970-B33C-1D15BE2F2270}" dt="2026-07-11T17:06:28.558" v="601"/>
          <ac:graphicFrameMkLst>
            <pc:docMk/>
            <pc:sldMk cId="411994518" sldId="500"/>
            <ac:graphicFrameMk id="46" creationId="{00000000-0000-0000-0000-000000000000}"/>
          </ac:graphicFrameMkLst>
        </pc:graphicFrameChg>
      </pc:sldChg>
      <pc:sldChg chg="addSp delSp modSp new del mod">
        <pc:chgData name="Dann Bleeker Pedersen" userId="34252400-a232-4440-8831-8cadcf57ce35" providerId="ADAL" clId="{5D18C0C2-102A-4970-B33C-1D15BE2F2270}" dt="2026-07-11T17:41:07.259" v="1163" actId="47"/>
        <pc:sldMkLst>
          <pc:docMk/>
          <pc:sldMk cId="3937300168" sldId="501"/>
        </pc:sldMkLst>
        <pc:spChg chg="mod ord">
          <ac:chgData name="Dann Bleeker Pedersen" userId="34252400-a232-4440-8831-8cadcf57ce35" providerId="ADAL" clId="{5D18C0C2-102A-4970-B33C-1D15BE2F2270}" dt="2026-07-11T17:07:49.911" v="913" actId="299"/>
          <ac:spMkLst>
            <pc:docMk/>
            <pc:sldMk cId="3937300168" sldId="501"/>
            <ac:spMk id="2" creationId="{065E193B-99B8-5D5F-8707-DED498BC96AE}"/>
          </ac:spMkLst>
        </pc:spChg>
        <pc:spChg chg="mod ord">
          <ac:chgData name="Dann Bleeker Pedersen" userId="34252400-a232-4440-8831-8cadcf57ce35" providerId="ADAL" clId="{5D18C0C2-102A-4970-B33C-1D15BE2F2270}" dt="2026-07-11T17:07:35.890" v="842"/>
          <ac:spMkLst>
            <pc:docMk/>
            <pc:sldMk cId="3937300168" sldId="501"/>
            <ac:spMk id="3" creationId="{2751A1E9-3AAA-A111-83C4-61E3C0C5F484}"/>
          </ac:spMkLst>
        </pc:spChg>
        <pc:spChg chg="add mod ord">
          <ac:chgData name="Dann Bleeker Pedersen" userId="34252400-a232-4440-8831-8cadcf57ce35" providerId="ADAL" clId="{5D18C0C2-102A-4970-B33C-1D15BE2F2270}" dt="2026-07-11T17:07:35.891" v="844"/>
          <ac:spMkLst>
            <pc:docMk/>
            <pc:sldMk cId="3937300168" sldId="501"/>
            <ac:spMk id="4" creationId="{8A45A0EE-DC43-AC36-855A-C2E4CD7088E6}"/>
          </ac:spMkLst>
        </pc:spChg>
        <pc:spChg chg="mod ord">
          <ac:chgData name="Dann Bleeker Pedersen" userId="34252400-a232-4440-8831-8cadcf57ce35" providerId="ADAL" clId="{5D18C0C2-102A-4970-B33C-1D15BE2F2270}" dt="2026-07-11T17:07:35.891" v="846"/>
          <ac:spMkLst>
            <pc:docMk/>
            <pc:sldMk cId="3937300168" sldId="501"/>
            <ac:spMk id="5" creationId="{10091CFB-916B-B3B3-5CF7-8DEB4B5E802A}"/>
          </ac:spMkLst>
        </pc:spChg>
        <pc:spChg chg="add mod ord">
          <ac:chgData name="Dann Bleeker Pedersen" userId="34252400-a232-4440-8831-8cadcf57ce35" providerId="ADAL" clId="{5D18C0C2-102A-4970-B33C-1D15BE2F2270}" dt="2026-07-11T17:07:35.891" v="848"/>
          <ac:spMkLst>
            <pc:docMk/>
            <pc:sldMk cId="3937300168" sldId="501"/>
            <ac:spMk id="6" creationId="{440F04B0-5582-A61E-0330-7D2FDC83C83F}"/>
          </ac:spMkLst>
        </pc:spChg>
        <pc:spChg chg="add mod ord">
          <ac:chgData name="Dann Bleeker Pedersen" userId="34252400-a232-4440-8831-8cadcf57ce35" providerId="ADAL" clId="{5D18C0C2-102A-4970-B33C-1D15BE2F2270}" dt="2026-07-11T17:07:35.892" v="850"/>
          <ac:spMkLst>
            <pc:docMk/>
            <pc:sldMk cId="3937300168" sldId="501"/>
            <ac:spMk id="7" creationId="{7B297095-606C-D2E7-BCBA-E8A3A8485D08}"/>
          </ac:spMkLst>
        </pc:spChg>
        <pc:spChg chg="mod ord">
          <ac:chgData name="Dann Bleeker Pedersen" userId="34252400-a232-4440-8831-8cadcf57ce35" providerId="ADAL" clId="{5D18C0C2-102A-4970-B33C-1D15BE2F2270}" dt="2026-07-11T17:07:35.892" v="852"/>
          <ac:spMkLst>
            <pc:docMk/>
            <pc:sldMk cId="3937300168" sldId="501"/>
            <ac:spMk id="8" creationId="{488A2350-D0EF-8C90-E193-C994D4FE05BB}"/>
          </ac:spMkLst>
        </pc:spChg>
        <pc:spChg chg="add mod">
          <ac:chgData name="Dann Bleeker Pedersen" userId="34252400-a232-4440-8831-8cadcf57ce35" providerId="ADAL" clId="{5D18C0C2-102A-4970-B33C-1D15BE2F2270}" dt="2026-07-11T17:07:35.895" v="861"/>
          <ac:spMkLst>
            <pc:docMk/>
            <pc:sldMk cId="3937300168" sldId="501"/>
            <ac:spMk id="13" creationId="{B41F4085-E077-F689-8E10-A41E67F04D05}"/>
          </ac:spMkLst>
        </pc:spChg>
        <pc:spChg chg="add mod">
          <ac:chgData name="Dann Bleeker Pedersen" userId="34252400-a232-4440-8831-8cadcf57ce35" providerId="ADAL" clId="{5D18C0C2-102A-4970-B33C-1D15BE2F2270}" dt="2026-07-11T17:07:35.896" v="862"/>
          <ac:spMkLst>
            <pc:docMk/>
            <pc:sldMk cId="3937300168" sldId="501"/>
            <ac:spMk id="14" creationId="{C8CA1E0A-6892-DFC0-7155-A83B5865758F}"/>
          </ac:spMkLst>
        </pc:spChg>
        <pc:spChg chg="mod">
          <ac:chgData name="Dann Bleeker Pedersen" userId="34252400-a232-4440-8831-8cadcf57ce35" providerId="ADAL" clId="{5D18C0C2-102A-4970-B33C-1D15BE2F2270}" dt="2026-07-11T17:07:35.896" v="863"/>
          <ac:spMkLst>
            <pc:docMk/>
            <pc:sldMk cId="3937300168" sldId="501"/>
            <ac:spMk id="15" creationId="{15ECA724-84A6-1197-DCEE-86B92CED3CA6}"/>
          </ac:spMkLst>
        </pc:spChg>
        <pc:spChg chg="mod ord">
          <ac:chgData name="Dann Bleeker Pedersen" userId="34252400-a232-4440-8831-8cadcf57ce35" providerId="ADAL" clId="{5D18C0C2-102A-4970-B33C-1D15BE2F2270}" dt="2026-07-11T17:07:35.897" v="865"/>
          <ac:spMkLst>
            <pc:docMk/>
            <pc:sldMk cId="3937300168" sldId="501"/>
            <ac:spMk id="16" creationId="{39F386B6-DEA5-58FF-0A78-E4B16331379A}"/>
          </ac:spMkLst>
        </pc:spChg>
        <pc:spChg chg="mod ord">
          <ac:chgData name="Dann Bleeker Pedersen" userId="34252400-a232-4440-8831-8cadcf57ce35" providerId="ADAL" clId="{5D18C0C2-102A-4970-B33C-1D15BE2F2270}" dt="2026-07-11T17:07:35.897" v="867"/>
          <ac:spMkLst>
            <pc:docMk/>
            <pc:sldMk cId="3937300168" sldId="501"/>
            <ac:spMk id="17" creationId="{3BCA067D-E1FE-30C4-F346-D0BD8323423F}"/>
          </ac:spMkLst>
        </pc:spChg>
        <pc:spChg chg="add mod ord">
          <ac:chgData name="Dann Bleeker Pedersen" userId="34252400-a232-4440-8831-8cadcf57ce35" providerId="ADAL" clId="{5D18C0C2-102A-4970-B33C-1D15BE2F2270}" dt="2026-07-11T17:07:35.898" v="869"/>
          <ac:spMkLst>
            <pc:docMk/>
            <pc:sldMk cId="3937300168" sldId="501"/>
            <ac:spMk id="18" creationId="{E39B1E0C-31B1-D3F8-6CFD-CA2F38F79E90}"/>
          </ac:spMkLst>
        </pc:spChg>
        <pc:spChg chg="mod ord">
          <ac:chgData name="Dann Bleeker Pedersen" userId="34252400-a232-4440-8831-8cadcf57ce35" providerId="ADAL" clId="{5D18C0C2-102A-4970-B33C-1D15BE2F2270}" dt="2026-07-11T17:07:35.898" v="871"/>
          <ac:spMkLst>
            <pc:docMk/>
            <pc:sldMk cId="3937300168" sldId="501"/>
            <ac:spMk id="19" creationId="{7B4AB9BA-2FC8-F706-DF58-C8FFDF353005}"/>
          </ac:spMkLst>
        </pc:spChg>
        <pc:spChg chg="add mod ord">
          <ac:chgData name="Dann Bleeker Pedersen" userId="34252400-a232-4440-8831-8cadcf57ce35" providerId="ADAL" clId="{5D18C0C2-102A-4970-B33C-1D15BE2F2270}" dt="2026-07-11T17:07:35.900" v="875"/>
          <ac:spMkLst>
            <pc:docMk/>
            <pc:sldMk cId="3937300168" sldId="501"/>
            <ac:spMk id="21" creationId="{43C5DEAB-573F-09DF-F9C6-757708FC2524}"/>
          </ac:spMkLst>
        </pc:spChg>
        <pc:spChg chg="mod ord">
          <ac:chgData name="Dann Bleeker Pedersen" userId="34252400-a232-4440-8831-8cadcf57ce35" providerId="ADAL" clId="{5D18C0C2-102A-4970-B33C-1D15BE2F2270}" dt="2026-07-11T17:07:35.900" v="877"/>
          <ac:spMkLst>
            <pc:docMk/>
            <pc:sldMk cId="3937300168" sldId="501"/>
            <ac:spMk id="22" creationId="{D081D27D-2E0A-58E9-4C98-BBD0B7D402B5}"/>
          </ac:spMkLst>
        </pc:spChg>
        <pc:spChg chg="mod ord">
          <ac:chgData name="Dann Bleeker Pedersen" userId="34252400-a232-4440-8831-8cadcf57ce35" providerId="ADAL" clId="{5D18C0C2-102A-4970-B33C-1D15BE2F2270}" dt="2026-07-11T17:07:35.901" v="879"/>
          <ac:spMkLst>
            <pc:docMk/>
            <pc:sldMk cId="3937300168" sldId="501"/>
            <ac:spMk id="23" creationId="{3AAE8D69-49A8-B518-B3DC-A1565785397B}"/>
          </ac:spMkLst>
        </pc:spChg>
        <pc:spChg chg="mod ord">
          <ac:chgData name="Dann Bleeker Pedersen" userId="34252400-a232-4440-8831-8cadcf57ce35" providerId="ADAL" clId="{5D18C0C2-102A-4970-B33C-1D15BE2F2270}" dt="2026-07-11T17:07:35.901" v="881"/>
          <ac:spMkLst>
            <pc:docMk/>
            <pc:sldMk cId="3937300168" sldId="501"/>
            <ac:spMk id="24" creationId="{5798B459-6AC8-6C63-7DE5-8758ABA48B24}"/>
          </ac:spMkLst>
        </pc:spChg>
        <pc:spChg chg="add mod ord">
          <ac:chgData name="Dann Bleeker Pedersen" userId="34252400-a232-4440-8831-8cadcf57ce35" providerId="ADAL" clId="{5D18C0C2-102A-4970-B33C-1D15BE2F2270}" dt="2026-07-11T17:07:35.902" v="883"/>
          <ac:spMkLst>
            <pc:docMk/>
            <pc:sldMk cId="3937300168" sldId="501"/>
            <ac:spMk id="25" creationId="{669ED8AA-FD39-500F-D83B-0F2FEF5EC2A1}"/>
          </ac:spMkLst>
        </pc:spChg>
        <pc:spChg chg="mod ord">
          <ac:chgData name="Dann Bleeker Pedersen" userId="34252400-a232-4440-8831-8cadcf57ce35" providerId="ADAL" clId="{5D18C0C2-102A-4970-B33C-1D15BE2F2270}" dt="2026-07-11T17:07:35.902" v="887"/>
          <ac:spMkLst>
            <pc:docMk/>
            <pc:sldMk cId="3937300168" sldId="501"/>
            <ac:spMk id="27" creationId="{E1628208-07CB-5D9D-E19C-E1C1A484D651}"/>
          </ac:spMkLst>
        </pc:spChg>
        <pc:spChg chg="add mod ord">
          <ac:chgData name="Dann Bleeker Pedersen" userId="34252400-a232-4440-8831-8cadcf57ce35" providerId="ADAL" clId="{5D18C0C2-102A-4970-B33C-1D15BE2F2270}" dt="2026-07-11T17:07:35.902" v="889"/>
          <ac:spMkLst>
            <pc:docMk/>
            <pc:sldMk cId="3937300168" sldId="501"/>
            <ac:spMk id="28" creationId="{A4A7E963-E2BB-3E0B-1A37-C70E6E39D1FE}"/>
          </ac:spMkLst>
        </pc:spChg>
        <pc:spChg chg="add mod ord">
          <ac:chgData name="Dann Bleeker Pedersen" userId="34252400-a232-4440-8831-8cadcf57ce35" providerId="ADAL" clId="{5D18C0C2-102A-4970-B33C-1D15BE2F2270}" dt="2026-07-11T17:07:35.904" v="891"/>
          <ac:spMkLst>
            <pc:docMk/>
            <pc:sldMk cId="3937300168" sldId="501"/>
            <ac:spMk id="29" creationId="{0E8F28C1-946F-82FF-BB41-94EB79B0B35D}"/>
          </ac:spMkLst>
        </pc:spChg>
        <pc:spChg chg="add del mod modVis">
          <ac:chgData name="Dann Bleeker Pedersen" userId="34252400-a232-4440-8831-8cadcf57ce35" providerId="ADAL" clId="{5D18C0C2-102A-4970-B33C-1D15BE2F2270}" dt="2026-07-11T17:07:35.905" v="895"/>
          <ac:spMkLst>
            <pc:docMk/>
            <pc:sldMk cId="3937300168" sldId="501"/>
            <ac:spMk id="31" creationId="{349E9E75-A125-F9F8-7A81-D6C94A678D80}"/>
          </ac:spMkLst>
        </pc:spChg>
        <pc:graphicFrameChg chg="del">
          <ac:chgData name="Dann Bleeker Pedersen" userId="34252400-a232-4440-8831-8cadcf57ce35" providerId="ADAL" clId="{5D18C0C2-102A-4970-B33C-1D15BE2F2270}" dt="2026-07-11T17:07:35.846" v="763"/>
          <ac:graphicFrameMkLst>
            <pc:docMk/>
            <pc:sldMk cId="3937300168" sldId="501"/>
            <ac:graphicFrameMk id="11" creationId="{172908C0-9AFA-C78A-87D7-2D0D74FC3D28}"/>
          </ac:graphicFrameMkLst>
        </pc:graphicFrameChg>
        <pc:graphicFrameChg chg="mod ord">
          <ac:chgData name="Dann Bleeker Pedersen" userId="34252400-a232-4440-8831-8cadcf57ce35" providerId="ADAL" clId="{5D18C0C2-102A-4970-B33C-1D15BE2F2270}" dt="2026-07-11T17:07:35.899" v="873"/>
          <ac:graphicFrameMkLst>
            <pc:docMk/>
            <pc:sldMk cId="3937300168" sldId="501"/>
            <ac:graphicFrameMk id="20" creationId="{2DB22F87-76DC-9D8C-D71F-EFDAAC7346F0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07:35.894" v="858"/>
          <ac:graphicFrameMkLst>
            <pc:docMk/>
            <pc:sldMk cId="3937300168" sldId="501"/>
            <ac:graphicFrameMk id="32" creationId="{51CF0938-0D78-3D16-3B77-2217B73F9351}"/>
          </ac:graphicFrameMkLst>
        </pc:graphicFrameChg>
        <pc:graphicFrameChg chg="add mod ord modVis">
          <ac:chgData name="Dann Bleeker Pedersen" userId="34252400-a232-4440-8831-8cadcf57ce35" providerId="ADAL" clId="{5D18C0C2-102A-4970-B33C-1D15BE2F2270}" dt="2026-07-11T17:07:35.923" v="909"/>
          <ac:graphicFrameMkLst>
            <pc:docMk/>
            <pc:sldMk cId="3937300168" sldId="501"/>
            <ac:graphicFrameMk id="33" creationId="{EE3959E4-EC66-7971-FAC8-615E734010DE}"/>
          </ac:graphicFrameMkLst>
        </pc:graphicFrameChg>
        <pc:cxnChg chg="mod ord">
          <ac:chgData name="Dann Bleeker Pedersen" userId="34252400-a232-4440-8831-8cadcf57ce35" providerId="ADAL" clId="{5D18C0C2-102A-4970-B33C-1D15BE2F2270}" dt="2026-07-11T17:07:35.894" v="854"/>
          <ac:cxnSpMkLst>
            <pc:docMk/>
            <pc:sldMk cId="3937300168" sldId="501"/>
            <ac:cxnSpMk id="9" creationId="{02BE6E41-46E4-E0A9-A78B-D03A22DA6A9A}"/>
          </ac:cxnSpMkLst>
        </pc:cxnChg>
        <pc:cxnChg chg="mod ord">
          <ac:chgData name="Dann Bleeker Pedersen" userId="34252400-a232-4440-8831-8cadcf57ce35" providerId="ADAL" clId="{5D18C0C2-102A-4970-B33C-1D15BE2F2270}" dt="2026-07-11T17:07:35.894" v="856"/>
          <ac:cxnSpMkLst>
            <pc:docMk/>
            <pc:sldMk cId="3937300168" sldId="501"/>
            <ac:cxnSpMk id="10" creationId="{85D80E34-35A0-A2F0-A855-499DBC47DF6C}"/>
          </ac:cxnSpMkLst>
        </pc:cxnChg>
        <pc:cxnChg chg="mod ord">
          <ac:chgData name="Dann Bleeker Pedersen" userId="34252400-a232-4440-8831-8cadcf57ce35" providerId="ADAL" clId="{5D18C0C2-102A-4970-B33C-1D15BE2F2270}" dt="2026-07-11T17:07:35.895" v="860"/>
          <ac:cxnSpMkLst>
            <pc:docMk/>
            <pc:sldMk cId="3937300168" sldId="501"/>
            <ac:cxnSpMk id="12" creationId="{160CA1AC-3397-5B19-A5F1-A32A2B52BC3A}"/>
          </ac:cxnSpMkLst>
        </pc:cxnChg>
        <pc:cxnChg chg="mod ord">
          <ac:chgData name="Dann Bleeker Pedersen" userId="34252400-a232-4440-8831-8cadcf57ce35" providerId="ADAL" clId="{5D18C0C2-102A-4970-B33C-1D15BE2F2270}" dt="2026-07-11T17:07:35.902" v="885"/>
          <ac:cxnSpMkLst>
            <pc:docMk/>
            <pc:sldMk cId="3937300168" sldId="501"/>
            <ac:cxnSpMk id="26" creationId="{BE66E139-9BA2-F648-2E82-8DBE0168D8A8}"/>
          </ac:cxnSpMkLst>
        </pc:cxnChg>
        <pc:cxnChg chg="mod ord">
          <ac:chgData name="Dann Bleeker Pedersen" userId="34252400-a232-4440-8831-8cadcf57ce35" providerId="ADAL" clId="{5D18C0C2-102A-4970-B33C-1D15BE2F2270}" dt="2026-07-11T17:07:35.904" v="893"/>
          <ac:cxnSpMkLst>
            <pc:docMk/>
            <pc:sldMk cId="3937300168" sldId="501"/>
            <ac:cxnSpMk id="30" creationId="{4A07C53A-62DC-681A-66EB-6E077A5FC109}"/>
          </ac:cxnSpMkLst>
        </pc:cxnChg>
      </pc:sldChg>
      <pc:sldChg chg="addSp delSp modSp add del mod">
        <pc:chgData name="Dann Bleeker Pedersen" userId="34252400-a232-4440-8831-8cadcf57ce35" providerId="ADAL" clId="{5D18C0C2-102A-4970-B33C-1D15BE2F2270}" dt="2026-07-11T17:41:07.259" v="1163" actId="47"/>
        <pc:sldMkLst>
          <pc:docMk/>
          <pc:sldMk cId="3868029881" sldId="502"/>
        </pc:sldMkLst>
        <pc:spChg chg="mod">
          <ac:chgData name="Dann Bleeker Pedersen" userId="34252400-a232-4440-8831-8cadcf57ce35" providerId="ADAL" clId="{5D18C0C2-102A-4970-B33C-1D15BE2F2270}" dt="2026-07-11T17:08:00.329" v="997" actId="299"/>
          <ac:spMkLst>
            <pc:docMk/>
            <pc:sldMk cId="3868029881" sldId="502"/>
            <ac:spMk id="2" creationId="{4488E6EA-EEEE-4639-EE7E-A1457F1A3C53}"/>
          </ac:spMkLst>
        </pc:spChg>
        <pc:spChg chg="del">
          <ac:chgData name="Dann Bleeker Pedersen" userId="34252400-a232-4440-8831-8cadcf57ce35" providerId="ADAL" clId="{5D18C0C2-102A-4970-B33C-1D15BE2F2270}" dt="2026-07-11T17:08:05.605" v="1037"/>
          <ac:spMkLst>
            <pc:docMk/>
            <pc:sldMk cId="3868029881" sldId="502"/>
            <ac:spMk id="4" creationId="{5F82491D-AF0E-1987-C29F-7E8AC0B8661C}"/>
          </ac:spMkLst>
        </pc:spChg>
        <pc:spChg chg="del">
          <ac:chgData name="Dann Bleeker Pedersen" userId="34252400-a232-4440-8831-8cadcf57ce35" providerId="ADAL" clId="{5D18C0C2-102A-4970-B33C-1D15BE2F2270}" dt="2026-07-11T17:08:05.608" v="1043"/>
          <ac:spMkLst>
            <pc:docMk/>
            <pc:sldMk cId="3868029881" sldId="502"/>
            <ac:spMk id="5" creationId="{4923A9A5-FEF7-D6F6-46A0-01B31297FCE1}"/>
          </ac:spMkLst>
        </pc:spChg>
        <pc:spChg chg="del">
          <ac:chgData name="Dann Bleeker Pedersen" userId="34252400-a232-4440-8831-8cadcf57ce35" providerId="ADAL" clId="{5D18C0C2-102A-4970-B33C-1D15BE2F2270}" dt="2026-07-11T17:08:05.606" v="1039"/>
          <ac:spMkLst>
            <pc:docMk/>
            <pc:sldMk cId="3868029881" sldId="502"/>
            <ac:spMk id="6" creationId="{6816849D-053F-C794-3C30-5625EA06918F}"/>
          </ac:spMkLst>
        </pc:spChg>
        <pc:spChg chg="del">
          <ac:chgData name="Dann Bleeker Pedersen" userId="34252400-a232-4440-8831-8cadcf57ce35" providerId="ADAL" clId="{5D18C0C2-102A-4970-B33C-1D15BE2F2270}" dt="2026-07-11T17:08:05.607" v="1041"/>
          <ac:spMkLst>
            <pc:docMk/>
            <pc:sldMk cId="3868029881" sldId="502"/>
            <ac:spMk id="7" creationId="{B1E16252-1BEC-EC9C-FD60-3B1BB1A60500}"/>
          </ac:spMkLst>
        </pc:spChg>
        <pc:spChg chg="del">
          <ac:chgData name="Dann Bleeker Pedersen" userId="34252400-a232-4440-8831-8cadcf57ce35" providerId="ADAL" clId="{5D18C0C2-102A-4970-B33C-1D15BE2F2270}" dt="2026-07-11T17:08:05.609" v="1045"/>
          <ac:spMkLst>
            <pc:docMk/>
            <pc:sldMk cId="3868029881" sldId="502"/>
            <ac:spMk id="8" creationId="{AA45BE69-82F0-54B5-5663-50B039E678EA}"/>
          </ac:spMkLst>
        </pc:spChg>
        <pc:spChg chg="add del mod modVis">
          <ac:chgData name="Dann Bleeker Pedersen" userId="34252400-a232-4440-8831-8cadcf57ce35" providerId="ADAL" clId="{5D18C0C2-102A-4970-B33C-1D15BE2F2270}" dt="2026-07-11T17:08:00.367" v="1014"/>
          <ac:spMkLst>
            <pc:docMk/>
            <pc:sldMk cId="3868029881" sldId="502"/>
            <ac:spMk id="11" creationId="{232E1CF1-6EEB-294F-AADB-566134607B6F}"/>
          </ac:spMkLst>
        </pc:spChg>
        <pc:spChg chg="del mod">
          <ac:chgData name="Dann Bleeker Pedersen" userId="34252400-a232-4440-8831-8cadcf57ce35" providerId="ADAL" clId="{5D18C0C2-102A-4970-B33C-1D15BE2F2270}" dt="2026-07-11T17:08:05.599" v="1025"/>
          <ac:spMkLst>
            <pc:docMk/>
            <pc:sldMk cId="3868029881" sldId="502"/>
            <ac:spMk id="13" creationId="{18BD841A-F568-105F-866D-05FF073BB723}"/>
          </ac:spMkLst>
        </pc:spChg>
        <pc:spChg chg="del mod">
          <ac:chgData name="Dann Bleeker Pedersen" userId="34252400-a232-4440-8831-8cadcf57ce35" providerId="ADAL" clId="{5D18C0C2-102A-4970-B33C-1D15BE2F2270}" dt="2026-07-11T17:08:05.599" v="1024"/>
          <ac:spMkLst>
            <pc:docMk/>
            <pc:sldMk cId="3868029881" sldId="502"/>
            <ac:spMk id="14" creationId="{EF7C9107-50C0-7DBD-4AF6-1E53520F827C}"/>
          </ac:spMkLst>
        </pc:spChg>
        <pc:spChg chg="del mod">
          <ac:chgData name="Dann Bleeker Pedersen" userId="34252400-a232-4440-8831-8cadcf57ce35" providerId="ADAL" clId="{5D18C0C2-102A-4970-B33C-1D15BE2F2270}" dt="2026-07-11T17:08:05.598" v="1021"/>
          <ac:spMkLst>
            <pc:docMk/>
            <pc:sldMk cId="3868029881" sldId="502"/>
            <ac:spMk id="15" creationId="{50ECC532-FED3-B1E5-9A7E-5E0A0F382301}"/>
          </ac:spMkLst>
        </pc:spChg>
        <pc:spChg chg="del mod">
          <ac:chgData name="Dann Bleeker Pedersen" userId="34252400-a232-4440-8831-8cadcf57ce35" providerId="ADAL" clId="{5D18C0C2-102A-4970-B33C-1D15BE2F2270}" dt="2026-07-11T17:08:05.595" v="1018"/>
          <ac:spMkLst>
            <pc:docMk/>
            <pc:sldMk cId="3868029881" sldId="502"/>
            <ac:spMk id="16" creationId="{E078667D-665B-63DE-D82A-0FDF764EA7A8}"/>
          </ac:spMkLst>
        </pc:spChg>
        <pc:spChg chg="del">
          <ac:chgData name="Dann Bleeker Pedersen" userId="34252400-a232-4440-8831-8cadcf57ce35" providerId="ADAL" clId="{5D18C0C2-102A-4970-B33C-1D15BE2F2270}" dt="2026-07-11T17:08:05.601" v="1029"/>
          <ac:spMkLst>
            <pc:docMk/>
            <pc:sldMk cId="3868029881" sldId="502"/>
            <ac:spMk id="17" creationId="{96FB64FF-01E8-DD07-21BB-1CE22CBA76FC}"/>
          </ac:spMkLst>
        </pc:spChg>
        <pc:spChg chg="del">
          <ac:chgData name="Dann Bleeker Pedersen" userId="34252400-a232-4440-8831-8cadcf57ce35" providerId="ADAL" clId="{5D18C0C2-102A-4970-B33C-1D15BE2F2270}" dt="2026-07-11T17:08:05.610" v="1047"/>
          <ac:spMkLst>
            <pc:docMk/>
            <pc:sldMk cId="3868029881" sldId="502"/>
            <ac:spMk id="18" creationId="{78D4580B-A9C6-382A-11A3-AC54746AF30D}"/>
          </ac:spMkLst>
        </pc:spChg>
        <pc:spChg chg="del">
          <ac:chgData name="Dann Bleeker Pedersen" userId="34252400-a232-4440-8831-8cadcf57ce35" providerId="ADAL" clId="{5D18C0C2-102A-4970-B33C-1D15BE2F2270}" dt="2026-07-11T17:08:05.603" v="1031"/>
          <ac:spMkLst>
            <pc:docMk/>
            <pc:sldMk cId="3868029881" sldId="502"/>
            <ac:spMk id="19" creationId="{9BE2C06F-EDC5-03F3-DC56-59EA98CCADFA}"/>
          </ac:spMkLst>
        </pc:spChg>
        <pc:spChg chg="del">
          <ac:chgData name="Dann Bleeker Pedersen" userId="34252400-a232-4440-8831-8cadcf57ce35" providerId="ADAL" clId="{5D18C0C2-102A-4970-B33C-1D15BE2F2270}" dt="2026-07-11T17:08:05.604" v="1033"/>
          <ac:spMkLst>
            <pc:docMk/>
            <pc:sldMk cId="3868029881" sldId="502"/>
            <ac:spMk id="21" creationId="{B948AC8D-EA78-4AC6-726D-334D1EBCC018}"/>
          </ac:spMkLst>
        </pc:spChg>
        <pc:spChg chg="del">
          <ac:chgData name="Dann Bleeker Pedersen" userId="34252400-a232-4440-8831-8cadcf57ce35" providerId="ADAL" clId="{5D18C0C2-102A-4970-B33C-1D15BE2F2270}" dt="2026-07-11T17:08:05.613" v="1051"/>
          <ac:spMkLst>
            <pc:docMk/>
            <pc:sldMk cId="3868029881" sldId="502"/>
            <ac:spMk id="22" creationId="{22447EEC-DFCE-67A2-A0B5-0131B9AAA43A}"/>
          </ac:spMkLst>
        </pc:spChg>
        <pc:spChg chg="del">
          <ac:chgData name="Dann Bleeker Pedersen" userId="34252400-a232-4440-8831-8cadcf57ce35" providerId="ADAL" clId="{5D18C0C2-102A-4970-B33C-1D15BE2F2270}" dt="2026-07-11T17:08:05.615" v="1053"/>
          <ac:spMkLst>
            <pc:docMk/>
            <pc:sldMk cId="3868029881" sldId="502"/>
            <ac:spMk id="23" creationId="{5BC24447-313E-FBDA-D5B2-03B5E276CF5C}"/>
          </ac:spMkLst>
        </pc:spChg>
        <pc:spChg chg="del">
          <ac:chgData name="Dann Bleeker Pedersen" userId="34252400-a232-4440-8831-8cadcf57ce35" providerId="ADAL" clId="{5D18C0C2-102A-4970-B33C-1D15BE2F2270}" dt="2026-07-11T17:08:05.604" v="1035"/>
          <ac:spMkLst>
            <pc:docMk/>
            <pc:sldMk cId="3868029881" sldId="502"/>
            <ac:spMk id="24" creationId="{0023BE1B-04E3-8BF5-1545-9BA06A89E370}"/>
          </ac:spMkLst>
        </pc:spChg>
        <pc:spChg chg="del">
          <ac:chgData name="Dann Bleeker Pedersen" userId="34252400-a232-4440-8831-8cadcf57ce35" providerId="ADAL" clId="{5D18C0C2-102A-4970-B33C-1D15BE2F2270}" dt="2026-07-11T17:08:05.616" v="1055"/>
          <ac:spMkLst>
            <pc:docMk/>
            <pc:sldMk cId="3868029881" sldId="502"/>
            <ac:spMk id="25" creationId="{FE1FF6E6-AB2E-B807-E7A1-E66993C76B96}"/>
          </ac:spMkLst>
        </pc:spChg>
        <pc:spChg chg="del">
          <ac:chgData name="Dann Bleeker Pedersen" userId="34252400-a232-4440-8831-8cadcf57ce35" providerId="ADAL" clId="{5D18C0C2-102A-4970-B33C-1D15BE2F2270}" dt="2026-07-11T17:08:05.617" v="1059"/>
          <ac:spMkLst>
            <pc:docMk/>
            <pc:sldMk cId="3868029881" sldId="502"/>
            <ac:spMk id="27" creationId="{80B8F93E-7C5C-D6C3-EB4A-1656A1E20C14}"/>
          </ac:spMkLst>
        </pc:spChg>
        <pc:spChg chg="del">
          <ac:chgData name="Dann Bleeker Pedersen" userId="34252400-a232-4440-8831-8cadcf57ce35" providerId="ADAL" clId="{5D18C0C2-102A-4970-B33C-1D15BE2F2270}" dt="2026-07-11T17:08:05.618" v="1061"/>
          <ac:spMkLst>
            <pc:docMk/>
            <pc:sldMk cId="3868029881" sldId="502"/>
            <ac:spMk id="28" creationId="{5D720D18-87F1-A19A-3366-5C328BA7AA3A}"/>
          </ac:spMkLst>
        </pc:spChg>
        <pc:spChg chg="del">
          <ac:chgData name="Dann Bleeker Pedersen" userId="34252400-a232-4440-8831-8cadcf57ce35" providerId="ADAL" clId="{5D18C0C2-102A-4970-B33C-1D15BE2F2270}" dt="2026-07-11T17:08:05.619" v="1065"/>
          <ac:spMkLst>
            <pc:docMk/>
            <pc:sldMk cId="3868029881" sldId="502"/>
            <ac:spMk id="29" creationId="{DEB7C7F5-6EFC-B425-2A91-3C264B38BACE}"/>
          </ac:spMkLst>
        </pc:spChg>
        <pc:spChg chg="add del">
          <ac:chgData name="Dann Bleeker Pedersen" userId="34252400-a232-4440-8831-8cadcf57ce35" providerId="ADAL" clId="{5D18C0C2-102A-4970-B33C-1D15BE2F2270}" dt="2026-07-11T17:08:19.441" v="1069" actId="478"/>
          <ac:spMkLst>
            <pc:docMk/>
            <pc:sldMk cId="3868029881" sldId="502"/>
            <ac:spMk id="34" creationId="{977A8562-7DBB-FCFC-ADF1-89BB3A7EF5F2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39" creationId="{F5A8B1BF-0977-30C3-C58D-141FF948AD0B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2" creationId="{F17DA4B0-6D51-A70B-B7F5-194E34C9AFA2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5" creationId="{29D4842A-8759-62A6-83EF-FDC7C9F4D9DB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7" creationId="{4B5191FE-ECB7-B4C8-CE56-D1D0728B60A3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9" creationId="{80AF37D2-BD4F-778E-A12F-338D55A78EF6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0" creationId="{0ABF1314-6864-28BE-CF15-901E95562658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1" creationId="{18262CAB-54EE-2BBF-ED04-F25773F6AF37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5" creationId="{02AFB90C-1248-6F95-7911-659EE7DBFA34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8" creationId="{70F4BE29-2063-0E5A-594D-195A88E65FE4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60" creationId="{C11D96E6-FFE6-29A1-73EE-FA36D8326D8B}"/>
          </ac:spMkLst>
        </pc:spChg>
        <pc:graphicFrameChg chg="del">
          <ac:chgData name="Dann Bleeker Pedersen" userId="34252400-a232-4440-8831-8cadcf57ce35" providerId="ADAL" clId="{5D18C0C2-102A-4970-B33C-1D15BE2F2270}" dt="2026-07-11T17:08:05.613" v="1049"/>
          <ac:graphicFrameMkLst>
            <pc:docMk/>
            <pc:sldMk cId="3868029881" sldId="502"/>
            <ac:graphicFrameMk id="20" creationId="{C3937953-BA3D-2F9A-080E-B0138F69FF32}"/>
          </ac:graphicFrameMkLst>
        </pc:graphicFrameChg>
        <pc:graphicFrameChg chg="del">
          <ac:chgData name="Dann Bleeker Pedersen" userId="34252400-a232-4440-8831-8cadcf57ce35" providerId="ADAL" clId="{5D18C0C2-102A-4970-B33C-1D15BE2F2270}" dt="2026-07-11T17:08:05.601" v="1027"/>
          <ac:graphicFrameMkLst>
            <pc:docMk/>
            <pc:sldMk cId="3868029881" sldId="502"/>
            <ac:graphicFrameMk id="32" creationId="{53AAB3C6-8D42-0DFB-01DF-A71D9218419D}"/>
          </ac:graphicFrameMkLst>
        </pc:graphicFrameChg>
        <pc:graphicFrameChg chg="mod">
          <ac:chgData name="Dann Bleeker Pedersen" userId="34252400-a232-4440-8831-8cadcf57ce35" providerId="ADAL" clId="{5D18C0C2-102A-4970-B33C-1D15BE2F2270}" dt="2026-07-11T17:08:05.624" v="1067"/>
          <ac:graphicFrameMkLst>
            <pc:docMk/>
            <pc:sldMk cId="3868029881" sldId="502"/>
            <ac:graphicFrameMk id="33" creationId="{36F215AC-B39D-7AC7-6E0B-E9883557E5D6}"/>
          </ac:graphicFrameMkLst>
        </pc:graphicFrameChg>
        <pc:cxnChg chg="del">
          <ac:chgData name="Dann Bleeker Pedersen" userId="34252400-a232-4440-8831-8cadcf57ce35" providerId="ADAL" clId="{5D18C0C2-102A-4970-B33C-1D15BE2F2270}" dt="2026-07-11T17:08:05.598" v="1023"/>
          <ac:cxnSpMkLst>
            <pc:docMk/>
            <pc:sldMk cId="3868029881" sldId="502"/>
            <ac:cxnSpMk id="9" creationId="{04EB0C22-FCDE-E273-0963-FDC79A326190}"/>
          </ac:cxnSpMkLst>
        </pc:cxnChg>
        <pc:cxnChg chg="del">
          <ac:chgData name="Dann Bleeker Pedersen" userId="34252400-a232-4440-8831-8cadcf57ce35" providerId="ADAL" clId="{5D18C0C2-102A-4970-B33C-1D15BE2F2270}" dt="2026-07-11T17:08:05.596" v="1020"/>
          <ac:cxnSpMkLst>
            <pc:docMk/>
            <pc:sldMk cId="3868029881" sldId="502"/>
            <ac:cxnSpMk id="10" creationId="{CCBD46D5-8658-DD63-1C0C-BA07C021CAAA}"/>
          </ac:cxnSpMkLst>
        </pc:cxnChg>
        <pc:cxnChg chg="del">
          <ac:chgData name="Dann Bleeker Pedersen" userId="34252400-a232-4440-8831-8cadcf57ce35" providerId="ADAL" clId="{5D18C0C2-102A-4970-B33C-1D15BE2F2270}" dt="2026-07-11T17:08:05.594" v="1016"/>
          <ac:cxnSpMkLst>
            <pc:docMk/>
            <pc:sldMk cId="3868029881" sldId="502"/>
            <ac:cxnSpMk id="12" creationId="{42A3A742-71B6-8809-9BA4-B11E3C1B5121}"/>
          </ac:cxnSpMkLst>
        </pc:cxnChg>
        <pc:cxnChg chg="del">
          <ac:chgData name="Dann Bleeker Pedersen" userId="34252400-a232-4440-8831-8cadcf57ce35" providerId="ADAL" clId="{5D18C0C2-102A-4970-B33C-1D15BE2F2270}" dt="2026-07-11T17:08:05.616" v="1057"/>
          <ac:cxnSpMkLst>
            <pc:docMk/>
            <pc:sldMk cId="3868029881" sldId="502"/>
            <ac:cxnSpMk id="26" creationId="{AF87B243-88B2-F6B0-23B1-677F47593ECC}"/>
          </ac:cxnSpMkLst>
        </pc:cxnChg>
        <pc:cxnChg chg="del">
          <ac:chgData name="Dann Bleeker Pedersen" userId="34252400-a232-4440-8831-8cadcf57ce35" providerId="ADAL" clId="{5D18C0C2-102A-4970-B33C-1D15BE2F2270}" dt="2026-07-11T17:08:05.619" v="1063"/>
          <ac:cxnSpMkLst>
            <pc:docMk/>
            <pc:sldMk cId="3868029881" sldId="502"/>
            <ac:cxnSpMk id="30" creationId="{D5017C09-4B90-2AC7-0651-313430C2CADD}"/>
          </ac:cxnSpMkLst>
        </pc:cxnChg>
      </pc:sldChg>
      <pc:sldChg chg="add del">
        <pc:chgData name="Dann Bleeker Pedersen" userId="34252400-a232-4440-8831-8cadcf57ce35" providerId="ADAL" clId="{5D18C0C2-102A-4970-B33C-1D15BE2F2270}" dt="2026-07-11T17:11:51.236" v="1077"/>
        <pc:sldMkLst>
          <pc:docMk/>
          <pc:sldMk cId="61836052" sldId="503"/>
        </pc:sldMkLst>
      </pc:sldChg>
      <pc:sldChg chg="add del">
        <pc:chgData name="Dann Bleeker Pedersen" userId="34252400-a232-4440-8831-8cadcf57ce35" providerId="ADAL" clId="{5D18C0C2-102A-4970-B33C-1D15BE2F2270}" dt="2026-07-11T17:11:52.327" v="1079"/>
        <pc:sldMkLst>
          <pc:docMk/>
          <pc:sldMk cId="1878912103" sldId="504"/>
        </pc:sldMkLst>
      </pc:sldChg>
      <pc:sldChg chg="modSp add del mod">
        <pc:chgData name="Dann Bleeker Pedersen" userId="34252400-a232-4440-8831-8cadcf57ce35" providerId="ADAL" clId="{5D18C0C2-102A-4970-B33C-1D15BE2F2270}" dt="2026-07-11T18:20:27.864" v="2823"/>
        <pc:sldMkLst>
          <pc:docMk/>
          <pc:sldMk cId="417760443" sldId="505"/>
        </pc:sldMkLst>
        <pc:spChg chg="mod">
          <ac:chgData name="Dann Bleeker Pedersen" userId="34252400-a232-4440-8831-8cadcf57ce35" providerId="ADAL" clId="{5D18C0C2-102A-4970-B33C-1D15BE2F2270}" dt="2026-07-11T17:12:25.029" v="1135" actId="20577"/>
          <ac:spMkLst>
            <pc:docMk/>
            <pc:sldMk cId="417760443" sldId="505"/>
            <ac:spMk id="3" creationId="{BEFAA4B4-4D9C-4071-B2D3-C4C4D381634B}"/>
          </ac:spMkLst>
        </pc:spChg>
      </pc:sldChg>
      <pc:sldChg chg="addSp modSp new mod">
        <pc:chgData name="Dann Bleeker Pedersen" userId="34252400-a232-4440-8831-8cadcf57ce35" providerId="ADAL" clId="{5D18C0C2-102A-4970-B33C-1D15BE2F2270}" dt="2026-07-11T18:38:34.354" v="2988"/>
        <pc:sldMkLst>
          <pc:docMk/>
          <pc:sldMk cId="3026754549" sldId="506"/>
        </pc:sldMkLst>
        <pc:spChg chg="mod">
          <ac:chgData name="Dann Bleeker Pedersen" userId="34252400-a232-4440-8831-8cadcf57ce35" providerId="ADAL" clId="{5D18C0C2-102A-4970-B33C-1D15BE2F2270}" dt="2026-07-11T17:41:48.126" v="1169" actId="299"/>
          <ac:spMkLst>
            <pc:docMk/>
            <pc:sldMk cId="3026754549" sldId="506"/>
            <ac:spMk id="2" creationId="{9F7DEA41-D0FA-9209-956D-C767A83316B1}"/>
          </ac:spMkLst>
        </pc:spChg>
        <pc:spChg chg="mod ord">
          <ac:chgData name="Dann Bleeker Pedersen" userId="34252400-a232-4440-8831-8cadcf57ce35" providerId="ADAL" clId="{5D18C0C2-102A-4970-B33C-1D15BE2F2270}" dt="2026-07-11T18:38:33.162" v="2984" actId="13244"/>
          <ac:spMkLst>
            <pc:docMk/>
            <pc:sldMk cId="3026754549" sldId="506"/>
            <ac:spMk id="4" creationId="{EC8ED3DB-9420-C034-F518-7D00E21896E6}"/>
          </ac:spMkLst>
        </pc:spChg>
        <pc:spChg chg="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5" creationId="{BDAC000D-F280-BCEB-074F-ECBE1C8BD70C}"/>
          </ac:spMkLst>
        </pc:spChg>
        <pc:spChg chg="mod">
          <ac:chgData name="Dann Bleeker Pedersen" userId="34252400-a232-4440-8831-8cadcf57ce35" providerId="ADAL" clId="{5D18C0C2-102A-4970-B33C-1D15BE2F2270}" dt="2026-07-11T17:43:40.541" v="1198" actId="208"/>
          <ac:spMkLst>
            <pc:docMk/>
            <pc:sldMk cId="3026754549" sldId="506"/>
            <ac:spMk id="6" creationId="{164D1AE1-2355-A385-AF3F-DC74C4D6C7B1}"/>
          </ac:spMkLst>
        </pc:spChg>
        <pc:spChg chg="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7" creationId="{CE2B2EA0-AF32-F64F-E507-1E3952E7EABC}"/>
          </ac:spMkLst>
        </pc:spChg>
        <pc:spChg chg="add mod">
          <ac:chgData name="Dann Bleeker Pedersen" userId="34252400-a232-4440-8831-8cadcf57ce35" providerId="ADAL" clId="{5D18C0C2-102A-4970-B33C-1D15BE2F2270}" dt="2026-07-11T17:43:40.541" v="1198" actId="208"/>
          <ac:spMkLst>
            <pc:docMk/>
            <pc:sldMk cId="3026754549" sldId="506"/>
            <ac:spMk id="8" creationId="{9CDDEF4F-7F08-E733-46A3-0B401F6B16EB}"/>
          </ac:spMkLst>
        </pc:spChg>
        <pc:spChg chg="add 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9" creationId="{BFC1D1DD-FB87-BFCF-1EB6-3D2C3F8BD7B9}"/>
          </ac:spMkLst>
        </pc:spChg>
        <pc:spChg chg="mod">
          <ac:chgData name="Dann Bleeker Pedersen" userId="34252400-a232-4440-8831-8cadcf57ce35" providerId="ADAL" clId="{5D18C0C2-102A-4970-B33C-1D15BE2F2270}" dt="2026-07-11T17:42:51.011" v="1197" actId="20577"/>
          <ac:spMkLst>
            <pc:docMk/>
            <pc:sldMk cId="3026754549" sldId="506"/>
            <ac:spMk id="10" creationId="{9C38B6F1-708A-F00E-9E83-E6A0F9E5D8AD}"/>
          </ac:spMkLst>
        </pc:spChg>
        <pc:spChg chg="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11" creationId="{7AFA8286-8460-8A2B-8320-26353F03B09A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12" creationId="{D952A074-9681-D825-739B-BB784BC99363}"/>
          </ac:spMkLst>
        </pc:spChg>
        <pc:spChg chg="add 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13" creationId="{E2DA2A4E-18B2-0E69-413F-61390A488B03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14" creationId="{B6FC2705-5B0D-8427-42AF-876112C312CD}"/>
          </ac:spMkLst>
        </pc:spChg>
        <pc:spChg chg="add 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15" creationId="{764B9D76-DEF8-82DE-EA5B-641698C982C2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18" creationId="{9A02EC19-96A8-4F27-5C17-4873D6F14BA5}"/>
          </ac:spMkLst>
        </pc:spChg>
        <pc:spChg chg="mod">
          <ac:chgData name="Dann Bleeker Pedersen" userId="34252400-a232-4440-8831-8cadcf57ce35" providerId="ADAL" clId="{5D18C0C2-102A-4970-B33C-1D15BE2F2270}" dt="2026-07-11T17:43:40.541" v="1198" actId="208"/>
          <ac:spMkLst>
            <pc:docMk/>
            <pc:sldMk cId="3026754549" sldId="506"/>
            <ac:spMk id="20" creationId="{16B1B8C7-7528-9224-D415-6EB2E9113EA4}"/>
          </ac:spMkLst>
        </pc:spChg>
        <pc:spChg chg="add 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21" creationId="{B044937E-13C8-3160-BD16-2611F9F0B842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22" creationId="{CEB9DDF1-1178-B300-931D-C74F2914A6CE}"/>
          </ac:spMkLst>
        </pc:spChg>
        <pc:spChg chg="add 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23" creationId="{B5C20073-BB60-8789-79AC-3A1774C67FFB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8:38:34.354" v="2988"/>
          <ac:graphicFrameMkLst>
            <pc:docMk/>
            <pc:sldMk cId="3026754549" sldId="506"/>
            <ac:graphicFrameMk id="24" creationId="{C2589C26-A54E-4C24-3753-D41C897A393B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46:14.141" v="1284" actId="20577"/>
        <pc:sldMkLst>
          <pc:docMk/>
          <pc:sldMk cId="2677751958" sldId="507"/>
        </pc:sldMkLst>
        <pc:spChg chg="mod">
          <ac:chgData name="Dann Bleeker Pedersen" userId="34252400-a232-4440-8831-8cadcf57ce35" providerId="ADAL" clId="{5D18C0C2-102A-4970-B33C-1D15BE2F2270}" dt="2026-07-11T17:43:56.394" v="1203" actId="299"/>
          <ac:spMkLst>
            <pc:docMk/>
            <pc:sldMk cId="2677751958" sldId="507"/>
            <ac:spMk id="2" creationId="{C1C4106D-1328-FAA1-214F-9E9E0EA49A63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3:56.418" v="1217"/>
          <ac:graphicFrameMkLst>
            <pc:docMk/>
            <pc:sldMk cId="2677751958" sldId="507"/>
            <ac:graphicFrameMk id="4" creationId="{756A93BD-5E0A-A669-24B4-8618D4F62EB2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46:14.141" v="1284" actId="20577"/>
          <ac:graphicFrameMkLst>
            <pc:docMk/>
            <pc:sldMk cId="2677751958" sldId="507"/>
            <ac:graphicFrameMk id="5" creationId="{909688AF-145E-63E4-A58E-7E9EDA252130}"/>
          </ac:graphicFrameMkLst>
        </pc:graphicFrameChg>
        <pc:picChg chg="add mod">
          <ac:chgData name="Dann Bleeker Pedersen" userId="34252400-a232-4440-8831-8cadcf57ce35" providerId="ADAL" clId="{5D18C0C2-102A-4970-B33C-1D15BE2F2270}" dt="2026-07-11T17:44:44.869" v="1242" actId="1035"/>
          <ac:picMkLst>
            <pc:docMk/>
            <pc:sldMk cId="2677751958" sldId="507"/>
            <ac:picMk id="6" creationId="{D2C3EB92-F94D-6CAA-6B7E-29B6D7B5E61C}"/>
          </ac:picMkLst>
        </pc:picChg>
        <pc:picChg chg="add mod">
          <ac:chgData name="Dann Bleeker Pedersen" userId="34252400-a232-4440-8831-8cadcf57ce35" providerId="ADAL" clId="{5D18C0C2-102A-4970-B33C-1D15BE2F2270}" dt="2026-07-11T17:44:50.167" v="1250" actId="1035"/>
          <ac:picMkLst>
            <pc:docMk/>
            <pc:sldMk cId="2677751958" sldId="507"/>
            <ac:picMk id="7" creationId="{07C1EF4F-DC4A-9046-E8D8-992DC4D7FCF4}"/>
          </ac:picMkLst>
        </pc:picChg>
        <pc:picChg chg="add mod">
          <ac:chgData name="Dann Bleeker Pedersen" userId="34252400-a232-4440-8831-8cadcf57ce35" providerId="ADAL" clId="{5D18C0C2-102A-4970-B33C-1D15BE2F2270}" dt="2026-07-11T17:44:40.505" v="1234" actId="1035"/>
          <ac:picMkLst>
            <pc:docMk/>
            <pc:sldMk cId="2677751958" sldId="507"/>
            <ac:picMk id="8" creationId="{5C629FE9-F9DC-ED8E-DB48-CB929297A2ED}"/>
          </ac:picMkLst>
        </pc:picChg>
        <pc:picChg chg="add mod">
          <ac:chgData name="Dann Bleeker Pedersen" userId="34252400-a232-4440-8831-8cadcf57ce35" providerId="ADAL" clId="{5D18C0C2-102A-4970-B33C-1D15BE2F2270}" dt="2026-07-11T17:44:17.220" v="1220" actId="1076"/>
          <ac:picMkLst>
            <pc:docMk/>
            <pc:sldMk cId="2677751958" sldId="507"/>
            <ac:picMk id="9" creationId="{ACFC959B-0A9D-4846-139F-5603828225AC}"/>
          </ac:picMkLst>
        </pc:picChg>
      </pc:sldChg>
      <pc:sldChg chg="addSp modSp new mod">
        <pc:chgData name="Dann Bleeker Pedersen" userId="34252400-a232-4440-8831-8cadcf57ce35" providerId="ADAL" clId="{5D18C0C2-102A-4970-B33C-1D15BE2F2270}" dt="2026-07-11T17:46:06.177" v="1282" actId="20577"/>
        <pc:sldMkLst>
          <pc:docMk/>
          <pc:sldMk cId="1186501440" sldId="508"/>
        </pc:sldMkLst>
        <pc:spChg chg="mod">
          <ac:chgData name="Dann Bleeker Pedersen" userId="34252400-a232-4440-8831-8cadcf57ce35" providerId="ADAL" clId="{5D18C0C2-102A-4970-B33C-1D15BE2F2270}" dt="2026-07-11T17:45:25.874" v="1257" actId="299"/>
          <ac:spMkLst>
            <pc:docMk/>
            <pc:sldMk cId="1186501440" sldId="508"/>
            <ac:spMk id="2" creationId="{C0A50555-7555-48C4-1326-4BA94CD47C0E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7" creationId="{675B6F14-2248-238B-F42C-1F6062442500}"/>
          </ac:spMkLst>
        </pc:spChg>
        <pc:spChg chg="mod">
          <ac:chgData name="Dann Bleeker Pedersen" userId="34252400-a232-4440-8831-8cadcf57ce35" providerId="ADAL" clId="{5D18C0C2-102A-4970-B33C-1D15BE2F2270}" dt="2026-07-11T17:46:06.177" v="1282" actId="20577"/>
          <ac:spMkLst>
            <pc:docMk/>
            <pc:sldMk cId="1186501440" sldId="508"/>
            <ac:spMk id="9" creationId="{5080C661-4D6F-B251-5EC4-9494BEAB70BF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11" creationId="{8DDBC2AE-D4CC-7A07-E395-BAA95025284B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33" creationId="{A776BDBF-E1DF-B386-68C4-899B8D702DDC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34" creationId="{17B79D99-DA36-A484-BCA5-38F71DDE738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35" creationId="{943165B3-069E-C594-58D7-DA46E89449EE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40" creationId="{83AF0BBF-10D5-CFD2-1E40-0DD36042482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42" creationId="{3AF732E1-6710-4EAE-0671-056A5877436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48" creationId="{6835CA35-996F-450D-D984-5B74E3984316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51" creationId="{DB2D684A-6557-3D42-1508-8FE35DF8C85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53" creationId="{711BFF25-7F1C-DF7D-3CE9-DC905B634EDB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5:25.896" v="1271"/>
          <ac:graphicFrameMkLst>
            <pc:docMk/>
            <pc:sldMk cId="1186501440" sldId="508"/>
            <ac:graphicFrameMk id="4" creationId="{370E1352-C60E-B750-AF31-900FE69E461A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47:18.488" v="1316" actId="20577"/>
        <pc:sldMkLst>
          <pc:docMk/>
          <pc:sldMk cId="3956477892" sldId="509"/>
        </pc:sldMkLst>
        <pc:spChg chg="mod">
          <ac:chgData name="Dann Bleeker Pedersen" userId="34252400-a232-4440-8831-8cadcf57ce35" providerId="ADAL" clId="{5D18C0C2-102A-4970-B33C-1D15BE2F2270}" dt="2026-07-11T17:46:42.322" v="1289" actId="299"/>
          <ac:spMkLst>
            <pc:docMk/>
            <pc:sldMk cId="3956477892" sldId="509"/>
            <ac:spMk id="2" creationId="{0D9052B5-8538-8533-6A31-8732E14BE689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6:42.349" v="1303"/>
          <ac:graphicFrameMkLst>
            <pc:docMk/>
            <pc:sldMk cId="3956477892" sldId="509"/>
            <ac:graphicFrameMk id="4" creationId="{DADB2551-4294-1BC2-2B3A-1983A87106B6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47:18.488" v="1316" actId="20577"/>
          <ac:graphicFrameMkLst>
            <pc:docMk/>
            <pc:sldMk cId="3956477892" sldId="509"/>
            <ac:graphicFrameMk id="5" creationId="{832A9994-4D3E-C450-E3FD-039E78F55CA0}"/>
          </ac:graphicFrameMkLst>
        </pc:graphicFrameChg>
        <pc:graphicFrameChg chg="add mod">
          <ac:chgData name="Dann Bleeker Pedersen" userId="34252400-a232-4440-8831-8cadcf57ce35" providerId="ADAL" clId="{5D18C0C2-102A-4970-B33C-1D15BE2F2270}" dt="2026-07-11T17:46:54.596" v="1305" actId="1076"/>
          <ac:graphicFrameMkLst>
            <pc:docMk/>
            <pc:sldMk cId="3956477892" sldId="509"/>
            <ac:graphicFrameMk id="6" creationId="{B9AC9480-93C6-73D6-66DE-321F81F5D9B0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48:06.735" v="1360" actId="20577"/>
        <pc:sldMkLst>
          <pc:docMk/>
          <pc:sldMk cId="479947756" sldId="510"/>
        </pc:sldMkLst>
        <pc:spChg chg="mod">
          <ac:chgData name="Dann Bleeker Pedersen" userId="34252400-a232-4440-8831-8cadcf57ce35" providerId="ADAL" clId="{5D18C0C2-102A-4970-B33C-1D15BE2F2270}" dt="2026-07-11T17:47:48.967" v="1345"/>
          <ac:spMkLst>
            <pc:docMk/>
            <pc:sldMk cId="479947756" sldId="510"/>
            <ac:spMk id="2" creationId="{65E156D1-B2D7-679D-D1F6-93C4BC144AB7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7:41.753" v="1335"/>
          <ac:graphicFrameMkLst>
            <pc:docMk/>
            <pc:sldMk cId="479947756" sldId="510"/>
            <ac:graphicFrameMk id="4" creationId="{C2F96274-B1F7-787E-A4F3-43CB26C10247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48:06.735" v="1360" actId="20577"/>
          <ac:graphicFrameMkLst>
            <pc:docMk/>
            <pc:sldMk cId="479947756" sldId="510"/>
            <ac:graphicFrameMk id="5" creationId="{0D42A483-C022-D39D-20F4-13349EDFCC7B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49:09.433" v="1392" actId="1037"/>
        <pc:sldMkLst>
          <pc:docMk/>
          <pc:sldMk cId="964011469" sldId="511"/>
        </pc:sldMkLst>
        <pc:spChg chg="mod">
          <ac:chgData name="Dann Bleeker Pedersen" userId="34252400-a232-4440-8831-8cadcf57ce35" providerId="ADAL" clId="{5D18C0C2-102A-4970-B33C-1D15BE2F2270}" dt="2026-07-11T17:48:25.671" v="1365" actId="299"/>
          <ac:spMkLst>
            <pc:docMk/>
            <pc:sldMk cId="964011469" sldId="511"/>
            <ac:spMk id="2" creationId="{DA61DAAE-1341-C2D1-5C12-93480AD108AF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8:25.695" v="1379"/>
          <ac:graphicFrameMkLst>
            <pc:docMk/>
            <pc:sldMk cId="964011469" sldId="511"/>
            <ac:graphicFrameMk id="4" creationId="{B93CB62D-714E-8C94-101B-0BF69974A4DA}"/>
          </ac:graphicFrameMkLst>
        </pc:graphicFrame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6" creationId="{25FA2322-5636-BE69-3E28-E6D9A3B3C25D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7" creationId="{71BE350F-E058-751D-1A86-2A2717522B47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8" creationId="{D6E3CD69-190F-3B1B-DED3-67832D71AACD}"/>
          </ac:picMkLst>
        </pc:picChg>
        <pc:picChg chg="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9" creationId="{FDE23A48-C09F-06E4-5CDE-5E8B2431BA1B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0" creationId="{7EE3C445-5B22-D173-6B7C-A459FFA9839D}"/>
          </ac:picMkLst>
        </pc:picChg>
        <pc:picChg chg="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1" creationId="{88CEF815-F6ED-2B46-1A52-1F63CD7D4E57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2" creationId="{21121685-C0C9-EE36-697A-1949B99D4D81}"/>
          </ac:picMkLst>
        </pc:picChg>
        <pc:picChg chg="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3" creationId="{BF23A461-1083-6B1C-FF7E-76DCE74DD8E1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5" creationId="{B00364A1-53E3-F6B2-47FF-D77C67B03FB5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6" creationId="{B47C3972-670B-69EE-710A-46D5A53BB1E4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7" creationId="{98BFA460-1289-AACE-BD47-5AFDE8A63074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8" creationId="{49698D80-866A-AE4B-A825-C884DD7C4D5C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20" creationId="{81266416-687F-EE14-4F74-9F70118C0941}"/>
          </ac:picMkLst>
        </pc:picChg>
      </pc:sldChg>
      <pc:sldChg chg="addSp delSp modSp new mod">
        <pc:chgData name="Dann Bleeker Pedersen" userId="34252400-a232-4440-8831-8cadcf57ce35" providerId="ADAL" clId="{5D18C0C2-102A-4970-B33C-1D15BE2F2270}" dt="2026-07-11T17:50:03.626" v="1430" actId="21"/>
        <pc:sldMkLst>
          <pc:docMk/>
          <pc:sldMk cId="2847938348" sldId="512"/>
        </pc:sldMkLst>
        <pc:spChg chg="mod">
          <ac:chgData name="Dann Bleeker Pedersen" userId="34252400-a232-4440-8831-8cadcf57ce35" providerId="ADAL" clId="{5D18C0C2-102A-4970-B33C-1D15BE2F2270}" dt="2026-07-11T17:49:28.547" v="1397" actId="299"/>
          <ac:spMkLst>
            <pc:docMk/>
            <pc:sldMk cId="2847938348" sldId="512"/>
            <ac:spMk id="2" creationId="{C2E2A379-5368-B92D-5659-EF6F5DAC4CF7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6" creationId="{E95218E8-3D39-EDD2-5267-60D338161A77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7" creationId="{FAD5B00D-1AE7-1E7A-BDF3-72B8C2BEC037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0" creationId="{9C2B57D3-0173-C4D1-08FF-45AD7CE075D5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2" creationId="{D899AFE5-2406-F63F-F2BC-E7740CA7FD02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6" creationId="{C10B0A67-BB67-648A-4C5B-9BDAC969E48E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7" creationId="{F6094EE5-93DA-2BB6-838D-8F4481BA348F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8" creationId="{A80E0789-6804-9C3C-2FB0-F7F40048623C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9" creationId="{E2B29CF9-B320-6DDC-4F13-2FAF73D1F8DB}"/>
          </ac:spMkLst>
        </pc:spChg>
        <pc:spChg chg="add del mod">
          <ac:chgData name="Dann Bleeker Pedersen" userId="34252400-a232-4440-8831-8cadcf57ce35" providerId="ADAL" clId="{5D18C0C2-102A-4970-B33C-1D15BE2F2270}" dt="2026-07-11T17:50:03.626" v="1430" actId="21"/>
          <ac:spMkLst>
            <pc:docMk/>
            <pc:sldMk cId="2847938348" sldId="512"/>
            <ac:spMk id="20" creationId="{D12B74CB-8DA7-81A1-8CB2-904F1056119A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21" creationId="{74353732-B75E-5541-9A55-E7CEE76D5481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9:28.563" v="1411"/>
          <ac:graphicFrameMkLst>
            <pc:docMk/>
            <pc:sldMk cId="2847938348" sldId="512"/>
            <ac:graphicFrameMk id="4" creationId="{565366D7-20F7-DCAA-7CCF-58F67E4AF00B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51:33.186" v="1465" actId="20577"/>
        <pc:sldMkLst>
          <pc:docMk/>
          <pc:sldMk cId="1544252438" sldId="513"/>
        </pc:sldMkLst>
        <pc:spChg chg="mod">
          <ac:chgData name="Dann Bleeker Pedersen" userId="34252400-a232-4440-8831-8cadcf57ce35" providerId="ADAL" clId="{5D18C0C2-102A-4970-B33C-1D15BE2F2270}" dt="2026-07-11T17:50:41.688" v="1435" actId="299"/>
          <ac:spMkLst>
            <pc:docMk/>
            <pc:sldMk cId="1544252438" sldId="513"/>
            <ac:spMk id="2" creationId="{AF4EA599-3056-EB0B-4B4F-B128A6396A08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0:41.708" v="1449"/>
          <ac:graphicFrameMkLst>
            <pc:docMk/>
            <pc:sldMk cId="1544252438" sldId="513"/>
            <ac:graphicFrameMk id="4" creationId="{59CE4454-17A8-A451-ABB0-3F863E5195A7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51:33.186" v="1465" actId="20577"/>
          <ac:graphicFrameMkLst>
            <pc:docMk/>
            <pc:sldMk cId="1544252438" sldId="513"/>
            <ac:graphicFrameMk id="5" creationId="{C8985131-10AC-16C2-E6E2-3A93513FA5ED}"/>
          </ac:graphicFrameMkLst>
        </pc:graphicFrameChg>
      </pc:sldChg>
      <pc:sldChg chg="addSp delSp modSp new mod modClrScheme chgLayout">
        <pc:chgData name="Dann Bleeker Pedersen" userId="34252400-a232-4440-8831-8cadcf57ce35" providerId="ADAL" clId="{5D18C0C2-102A-4970-B33C-1D15BE2F2270}" dt="2026-07-11T17:52:53.917" v="1511" actId="20577"/>
        <pc:sldMkLst>
          <pc:docMk/>
          <pc:sldMk cId="2097951462" sldId="514"/>
        </pc:sldMkLst>
        <pc:spChg chg="del mod ord">
          <ac:chgData name="Dann Bleeker Pedersen" userId="34252400-a232-4440-8831-8cadcf57ce35" providerId="ADAL" clId="{5D18C0C2-102A-4970-B33C-1D15BE2F2270}" dt="2026-07-11T17:52:41.211" v="1467" actId="700"/>
          <ac:spMkLst>
            <pc:docMk/>
            <pc:sldMk cId="2097951462" sldId="514"/>
            <ac:spMk id="2" creationId="{49F9CDAF-6362-BF67-79B5-9718E26B624F}"/>
          </ac:spMkLst>
        </pc:spChg>
        <pc:spChg chg="mod ord">
          <ac:chgData name="Dann Bleeker Pedersen" userId="34252400-a232-4440-8831-8cadcf57ce35" providerId="ADAL" clId="{5D18C0C2-102A-4970-B33C-1D15BE2F2270}" dt="2026-07-11T17:52:41.211" v="1467" actId="700"/>
          <ac:spMkLst>
            <pc:docMk/>
            <pc:sldMk cId="2097951462" sldId="514"/>
            <ac:spMk id="3" creationId="{E9FE0AD7-AA40-EFB6-8081-82AEFDD167D6}"/>
          </ac:spMkLst>
        </pc:spChg>
        <pc:spChg chg="add mod ord">
          <ac:chgData name="Dann Bleeker Pedersen" userId="34252400-a232-4440-8831-8cadcf57ce35" providerId="ADAL" clId="{5D18C0C2-102A-4970-B33C-1D15BE2F2270}" dt="2026-07-11T17:52:46.405" v="1496" actId="948"/>
          <ac:spMkLst>
            <pc:docMk/>
            <pc:sldMk cId="2097951462" sldId="514"/>
            <ac:spMk id="4" creationId="{F6E59CC5-0E40-3CCF-6152-681E14948C09}"/>
          </ac:spMkLst>
        </pc:spChg>
        <pc:spChg chg="add mod ord">
          <ac:chgData name="Dann Bleeker Pedersen" userId="34252400-a232-4440-8831-8cadcf57ce35" providerId="ADAL" clId="{5D18C0C2-102A-4970-B33C-1D15BE2F2270}" dt="2026-07-11T17:52:53.917" v="1511" actId="20577"/>
          <ac:spMkLst>
            <pc:docMk/>
            <pc:sldMk cId="2097951462" sldId="514"/>
            <ac:spMk id="5" creationId="{111C2FA2-BC40-4B78-B474-611A4C0AF256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2:41.753" v="1482"/>
          <ac:graphicFrameMkLst>
            <pc:docMk/>
            <pc:sldMk cId="2097951462" sldId="514"/>
            <ac:graphicFrameMk id="6" creationId="{01903DD8-7B0F-EEC1-E491-A0FB336789B1}"/>
          </ac:graphicFrameMkLst>
        </pc:graphicFrameChg>
      </pc:sldChg>
      <pc:sldChg chg="addSp delSp modSp new del mod modClrScheme chgLayout">
        <pc:chgData name="Dann Bleeker Pedersen" userId="34252400-a232-4440-8831-8cadcf57ce35" providerId="ADAL" clId="{5D18C0C2-102A-4970-B33C-1D15BE2F2270}" dt="2026-07-11T18:06:35.815" v="2660"/>
        <pc:sldMkLst>
          <pc:docMk/>
          <pc:sldMk cId="3360397781" sldId="515"/>
        </pc:sldMkLst>
        <pc:spChg chg="del mod ord">
          <ac:chgData name="Dann Bleeker Pedersen" userId="34252400-a232-4440-8831-8cadcf57ce35" providerId="ADAL" clId="{5D18C0C2-102A-4970-B33C-1D15BE2F2270}" dt="2026-07-11T17:53:33.570" v="1515" actId="700"/>
          <ac:spMkLst>
            <pc:docMk/>
            <pc:sldMk cId="3360397781" sldId="515"/>
            <ac:spMk id="2" creationId="{B06D0807-AF5E-6C88-2381-0BE3A2E88FD3}"/>
          </ac:spMkLst>
        </pc:spChg>
        <pc:spChg chg="del">
          <ac:chgData name="Dann Bleeker Pedersen" userId="34252400-a232-4440-8831-8cadcf57ce35" providerId="ADAL" clId="{5D18C0C2-102A-4970-B33C-1D15BE2F2270}" dt="2026-07-11T17:53:33.570" v="1515" actId="700"/>
          <ac:spMkLst>
            <pc:docMk/>
            <pc:sldMk cId="3360397781" sldId="515"/>
            <ac:spMk id="3" creationId="{292DEC39-F9E6-EC49-6D9E-E14BAF1BCF1C}"/>
          </ac:spMkLst>
        </pc:spChg>
        <pc:spChg chg="mod ord">
          <ac:chgData name="Dann Bleeker Pedersen" userId="34252400-a232-4440-8831-8cadcf57ce35" providerId="ADAL" clId="{5D18C0C2-102A-4970-B33C-1D15BE2F2270}" dt="2026-07-11T17:57:14.507" v="2211"/>
          <ac:spMkLst>
            <pc:docMk/>
            <pc:sldMk cId="3360397781" sldId="515"/>
            <ac:spMk id="4" creationId="{BC0A59C2-0AD9-A81D-DA47-0173FDD37396}"/>
          </ac:spMkLst>
        </pc:spChg>
        <pc:spChg chg="add mod ord">
          <ac:chgData name="Dann Bleeker Pedersen" userId="34252400-a232-4440-8831-8cadcf57ce35" providerId="ADAL" clId="{5D18C0C2-102A-4970-B33C-1D15BE2F2270}" dt="2026-07-11T17:57:14.506" v="2209"/>
          <ac:spMkLst>
            <pc:docMk/>
            <pc:sldMk cId="3360397781" sldId="515"/>
            <ac:spMk id="5" creationId="{91E9A235-C008-3422-F9B8-43884D388167}"/>
          </ac:spMkLst>
        </pc:spChg>
        <pc:spChg chg="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8" creationId="{EC4DD6B0-9939-4C22-4A87-7D8D8D53A5C0}"/>
          </ac:spMkLst>
        </pc:spChg>
        <pc:spChg chg="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9" creationId="{020F3ACD-E2DB-E978-4EAE-7104FFCB3408}"/>
          </ac:spMkLst>
        </pc:spChg>
        <pc:spChg chg="mod ord">
          <ac:chgData name="Dann Bleeker Pedersen" userId="34252400-a232-4440-8831-8cadcf57ce35" providerId="ADAL" clId="{5D18C0C2-102A-4970-B33C-1D15BE2F2270}" dt="2026-07-11T17:57:10.666" v="1942" actId="139"/>
          <ac:spMkLst>
            <pc:docMk/>
            <pc:sldMk cId="3360397781" sldId="515"/>
            <ac:spMk id="10" creationId="{FBE7E195-2A62-2884-B94D-F93281C95C99}"/>
          </ac:spMkLst>
        </pc:spChg>
        <pc:spChg chg="add mod ord">
          <ac:chgData name="Dann Bleeker Pedersen" userId="34252400-a232-4440-8831-8cadcf57ce35" providerId="ADAL" clId="{5D18C0C2-102A-4970-B33C-1D15BE2F2270}" dt="2026-07-11T17:57:10.663" v="1936" actId="139"/>
          <ac:spMkLst>
            <pc:docMk/>
            <pc:sldMk cId="3360397781" sldId="515"/>
            <ac:spMk id="12" creationId="{A3BA9D74-6D6B-1687-BE00-C71860472E15}"/>
          </ac:spMkLst>
        </pc:spChg>
        <pc:spChg chg="mod ord">
          <ac:chgData name="Dann Bleeker Pedersen" userId="34252400-a232-4440-8831-8cadcf57ce35" providerId="ADAL" clId="{5D18C0C2-102A-4970-B33C-1D15BE2F2270}" dt="2026-07-11T17:57:10.662" v="1932" actId="139"/>
          <ac:spMkLst>
            <pc:docMk/>
            <pc:sldMk cId="3360397781" sldId="515"/>
            <ac:spMk id="13" creationId="{A9A647EB-0AED-71C7-0F70-018C0F247BA3}"/>
          </ac:spMkLst>
        </pc:spChg>
        <pc:spChg chg="mod">
          <ac:chgData name="Dann Bleeker Pedersen" userId="34252400-a232-4440-8831-8cadcf57ce35" providerId="ADAL" clId="{5D18C0C2-102A-4970-B33C-1D15BE2F2270}" dt="2026-07-11T17:57:04.582" v="1789"/>
          <ac:spMkLst>
            <pc:docMk/>
            <pc:sldMk cId="3360397781" sldId="515"/>
            <ac:spMk id="15" creationId="{CE30CB05-169E-77A5-4BF7-7A3A549F4A10}"/>
          </ac:spMkLst>
        </pc:spChg>
        <pc:spChg chg="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16" creationId="{675211B3-9555-7503-81D2-F9FA9FF057D4}"/>
          </ac:spMkLst>
        </pc:spChg>
        <pc:spChg chg="add 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1" creationId="{3D84B945-8612-CF43-F896-FE64CD669BD8}"/>
          </ac:spMkLst>
        </pc:spChg>
        <pc:spChg chg="add 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2" creationId="{BE7624BD-E35D-8D7A-D1F0-F4D97607F557}"/>
          </ac:spMkLst>
        </pc:spChg>
        <pc:spChg chg="add 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3" creationId="{D47918BA-9AE1-BAE8-5582-3E0BC6E0C7F3}"/>
          </ac:spMkLst>
        </pc:spChg>
        <pc:spChg chg="mod ord">
          <ac:chgData name="Dann Bleeker Pedersen" userId="34252400-a232-4440-8831-8cadcf57ce35" providerId="ADAL" clId="{5D18C0C2-102A-4970-B33C-1D15BE2F2270}" dt="2026-07-11T17:57:10.701" v="1989" actId="20577"/>
          <ac:spMkLst>
            <pc:docMk/>
            <pc:sldMk cId="3360397781" sldId="515"/>
            <ac:spMk id="24" creationId="{62939442-D528-9253-4229-AAA17B797025}"/>
          </ac:spMkLst>
        </pc:spChg>
        <pc:spChg chg="add mod or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5" creationId="{61B7C190-20C0-B53E-66EB-89285B3F6707}"/>
          </ac:spMkLst>
        </pc:spChg>
        <pc:spChg chg="add mod or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6" creationId="{FFA7EBF2-2BBF-4EA1-FC84-D598EAA42C01}"/>
          </ac:spMkLst>
        </pc:spChg>
        <pc:spChg chg="add del mod modVis">
          <ac:chgData name="Dann Bleeker Pedersen" userId="34252400-a232-4440-8831-8cadcf57ce35" providerId="ADAL" clId="{5D18C0C2-102A-4970-B33C-1D15BE2F2270}" dt="2026-07-11T17:57:10.694" v="1982" actId="962"/>
          <ac:spMkLst>
            <pc:docMk/>
            <pc:sldMk cId="3360397781" sldId="515"/>
            <ac:spMk id="27" creationId="{B03D84C5-E485-2CCF-F07B-E4324F1D985B}"/>
          </ac:spMkLst>
        </pc:spChg>
        <pc:spChg chg="mod">
          <ac:chgData name="Dann Bleeker Pedersen" userId="34252400-a232-4440-8831-8cadcf57ce35" providerId="ADAL" clId="{5D18C0C2-102A-4970-B33C-1D15BE2F2270}" dt="2026-07-11T18:00:11.605" v="2311" actId="20577"/>
          <ac:spMkLst>
            <pc:docMk/>
            <pc:sldMk cId="3360397781" sldId="515"/>
            <ac:spMk id="30" creationId="{F4849063-45D5-1D13-FCC2-1BE31A879E05}"/>
          </ac:spMkLst>
        </pc:spChg>
        <pc:spChg chg="mod">
          <ac:chgData name="Dann Bleeker Pedersen" userId="34252400-a232-4440-8831-8cadcf57ce35" providerId="ADAL" clId="{5D18C0C2-102A-4970-B33C-1D15BE2F2270}" dt="2026-07-11T17:57:14.463" v="2129"/>
          <ac:spMkLst>
            <pc:docMk/>
            <pc:sldMk cId="3360397781" sldId="515"/>
            <ac:spMk id="31" creationId="{9A587F8C-02A5-5D84-EAE1-7926D9DECDB9}"/>
          </ac:spMkLst>
        </pc:spChg>
        <pc:spChg chg="add del mod ord">
          <ac:chgData name="Dann Bleeker Pedersen" userId="34252400-a232-4440-8831-8cadcf57ce35" providerId="ADAL" clId="{5D18C0C2-102A-4970-B33C-1D15BE2F2270}" dt="2026-07-11T18:00:27.678" v="2312" actId="478"/>
          <ac:spMkLst>
            <pc:docMk/>
            <pc:sldMk cId="3360397781" sldId="515"/>
            <ac:spMk id="32" creationId="{DF900582-763E-67D3-3ADE-234B887C7BC3}"/>
          </ac:spMkLst>
        </pc:spChg>
        <pc:spChg chg="add mod ord">
          <ac:chgData name="Dann Bleeker Pedersen" userId="34252400-a232-4440-8831-8cadcf57ce35" providerId="ADAL" clId="{5D18C0C2-102A-4970-B33C-1D15BE2F2270}" dt="2026-07-11T17:57:14.509" v="2219"/>
          <ac:spMkLst>
            <pc:docMk/>
            <pc:sldMk cId="3360397781" sldId="515"/>
            <ac:spMk id="34" creationId="{1719CB20-5572-4F9C-AC23-7993261D0004}"/>
          </ac:spMkLst>
        </pc:spChg>
        <pc:spChg chg="add del mod ord">
          <ac:chgData name="Dann Bleeker Pedersen" userId="34252400-a232-4440-8831-8cadcf57ce35" providerId="ADAL" clId="{5D18C0C2-102A-4970-B33C-1D15BE2F2270}" dt="2026-07-11T17:58:59.514" v="2282" actId="478"/>
          <ac:spMkLst>
            <pc:docMk/>
            <pc:sldMk cId="3360397781" sldId="515"/>
            <ac:spMk id="35" creationId="{5FF643F4-6097-701E-0FD1-D99EC7360400}"/>
          </ac:spMkLst>
        </pc:spChg>
        <pc:spChg chg="mod">
          <ac:chgData name="Dann Bleeker Pedersen" userId="34252400-a232-4440-8831-8cadcf57ce35" providerId="ADAL" clId="{5D18C0C2-102A-4970-B33C-1D15BE2F2270}" dt="2026-07-11T17:57:14.476" v="2155"/>
          <ac:spMkLst>
            <pc:docMk/>
            <pc:sldMk cId="3360397781" sldId="515"/>
            <ac:spMk id="37" creationId="{A02A64FE-4E31-7AAB-29FB-D4959F31B476}"/>
          </ac:spMkLst>
        </pc:spChg>
        <pc:spChg chg="mod">
          <ac:chgData name="Dann Bleeker Pedersen" userId="34252400-a232-4440-8831-8cadcf57ce35" providerId="ADAL" clId="{5D18C0C2-102A-4970-B33C-1D15BE2F2270}" dt="2026-07-11T17:57:14.476" v="2155"/>
          <ac:spMkLst>
            <pc:docMk/>
            <pc:sldMk cId="3360397781" sldId="515"/>
            <ac:spMk id="38" creationId="{52CE22C1-36E1-7CE0-9021-4583544B6CA8}"/>
          </ac:spMkLst>
        </pc:spChg>
        <pc:spChg chg="add mod">
          <ac:chgData name="Dann Bleeker Pedersen" userId="34252400-a232-4440-8831-8cadcf57ce35" providerId="ADAL" clId="{5D18C0C2-102A-4970-B33C-1D15BE2F2270}" dt="2026-07-11T17:57:14.513" v="2232"/>
          <ac:spMkLst>
            <pc:docMk/>
            <pc:sldMk cId="3360397781" sldId="515"/>
            <ac:spMk id="43" creationId="{C1482205-052D-1121-5DED-C9949FDDC11C}"/>
          </ac:spMkLst>
        </pc:spChg>
        <pc:spChg chg="mod">
          <ac:chgData name="Dann Bleeker Pedersen" userId="34252400-a232-4440-8831-8cadcf57ce35" providerId="ADAL" clId="{5D18C0C2-102A-4970-B33C-1D15BE2F2270}" dt="2026-07-11T17:57:14.513" v="2233"/>
          <ac:spMkLst>
            <pc:docMk/>
            <pc:sldMk cId="3360397781" sldId="515"/>
            <ac:spMk id="44" creationId="{5CD7F693-939F-D561-CAFC-73199CDE04B9}"/>
          </ac:spMkLst>
        </pc:spChg>
        <pc:spChg chg="add mod">
          <ac:chgData name="Dann Bleeker Pedersen" userId="34252400-a232-4440-8831-8cadcf57ce35" providerId="ADAL" clId="{5D18C0C2-102A-4970-B33C-1D15BE2F2270}" dt="2026-07-11T17:57:14.513" v="2234"/>
          <ac:spMkLst>
            <pc:docMk/>
            <pc:sldMk cId="3360397781" sldId="515"/>
            <ac:spMk id="45" creationId="{6EB78BB5-1825-2252-BBF5-8B8DF99A2076}"/>
          </ac:spMkLst>
        </pc:spChg>
        <pc:spChg chg="add mod ord">
          <ac:chgData name="Dann Bleeker Pedersen" userId="34252400-a232-4440-8831-8cadcf57ce35" providerId="ADAL" clId="{5D18C0C2-102A-4970-B33C-1D15BE2F2270}" dt="2026-07-11T17:57:14.514" v="2236"/>
          <ac:spMkLst>
            <pc:docMk/>
            <pc:sldMk cId="3360397781" sldId="515"/>
            <ac:spMk id="46" creationId="{1F1EB634-8299-271E-2D38-6DAB730D2589}"/>
          </ac:spMkLst>
        </pc:spChg>
        <pc:spChg chg="add mod ord">
          <ac:chgData name="Dann Bleeker Pedersen" userId="34252400-a232-4440-8831-8cadcf57ce35" providerId="ADAL" clId="{5D18C0C2-102A-4970-B33C-1D15BE2F2270}" dt="2026-07-11T17:57:14.514" v="2238"/>
          <ac:spMkLst>
            <pc:docMk/>
            <pc:sldMk cId="3360397781" sldId="515"/>
            <ac:spMk id="47" creationId="{2D4D1941-805F-66A9-3F7C-2B26CC8CBB98}"/>
          </ac:spMkLst>
        </pc:spChg>
        <pc:spChg chg="mod ord">
          <ac:chgData name="Dann Bleeker Pedersen" userId="34252400-a232-4440-8831-8cadcf57ce35" providerId="ADAL" clId="{5D18C0C2-102A-4970-B33C-1D15BE2F2270}" dt="2026-07-11T17:57:14.514" v="2240"/>
          <ac:spMkLst>
            <pc:docMk/>
            <pc:sldMk cId="3360397781" sldId="515"/>
            <ac:spMk id="48" creationId="{4080FE50-6025-A523-461C-FC75476D79F4}"/>
          </ac:spMkLst>
        </pc:spChg>
        <pc:spChg chg="add del mod modVis">
          <ac:chgData name="Dann Bleeker Pedersen" userId="34252400-a232-4440-8831-8cadcf57ce35" providerId="ADAL" clId="{5D18C0C2-102A-4970-B33C-1D15BE2F2270}" dt="2026-07-11T17:57:14.516" v="2242"/>
          <ac:spMkLst>
            <pc:docMk/>
            <pc:sldMk cId="3360397781" sldId="515"/>
            <ac:spMk id="49" creationId="{01D6B435-13A5-6858-6AA3-5A7F5E3397F1}"/>
          </ac:spMkLst>
        </pc:spChg>
        <pc:spChg chg="add mod">
          <ac:chgData name="Dann Bleeker Pedersen" userId="34252400-a232-4440-8831-8cadcf57ce35" providerId="ADAL" clId="{5D18C0C2-102A-4970-B33C-1D15BE2F2270}" dt="2026-07-11T17:58:34.282" v="2281" actId="113"/>
          <ac:spMkLst>
            <pc:docMk/>
            <pc:sldMk cId="3360397781" sldId="515"/>
            <ac:spMk id="51" creationId="{74EFEEE9-62BD-D612-CA5C-BFBB5CB08DF3}"/>
          </ac:spMkLst>
        </pc:spChg>
        <pc:grpChg chg="mod ord">
          <ac:chgData name="Dann Bleeker Pedersen" userId="34252400-a232-4440-8831-8cadcf57ce35" providerId="ADAL" clId="{5D18C0C2-102A-4970-B33C-1D15BE2F2270}" dt="2026-07-11T17:57:10.667" v="1944" actId="1076"/>
          <ac:grpSpMkLst>
            <pc:docMk/>
            <pc:sldMk cId="3360397781" sldId="515"/>
            <ac:grpSpMk id="7" creationId="{1EAE509E-C708-B6EF-8BCF-94CBCA611A9C}"/>
          </ac:grpSpMkLst>
        </pc:grpChg>
        <pc:grpChg chg="mod ord">
          <ac:chgData name="Dann Bleeker Pedersen" userId="34252400-a232-4440-8831-8cadcf57ce35" providerId="ADAL" clId="{5D18C0C2-102A-4970-B33C-1D15BE2F2270}" dt="2026-07-11T17:57:10.660" v="1928" actId="1076"/>
          <ac:grpSpMkLst>
            <pc:docMk/>
            <pc:sldMk cId="3360397781" sldId="515"/>
            <ac:grpSpMk id="14" creationId="{64B2B0A6-63CE-2435-E4C2-F6B3D05C57B0}"/>
          </ac:grpSpMkLst>
        </pc:grpChg>
        <pc:grpChg chg="mod ord">
          <ac:chgData name="Dann Bleeker Pedersen" userId="34252400-a232-4440-8831-8cadcf57ce35" providerId="ADAL" clId="{5D18C0C2-102A-4970-B33C-1D15BE2F2270}" dt="2026-07-11T17:57:14.507" v="2213"/>
          <ac:grpSpMkLst>
            <pc:docMk/>
            <pc:sldMk cId="3360397781" sldId="515"/>
            <ac:grpSpMk id="29" creationId="{6E9B4D8C-74EA-80F4-1EB8-DA653E1C95C8}"/>
          </ac:grpSpMkLst>
        </pc:grpChg>
        <pc:grpChg chg="mod ord">
          <ac:chgData name="Dann Bleeker Pedersen" userId="34252400-a232-4440-8831-8cadcf57ce35" providerId="ADAL" clId="{5D18C0C2-102A-4970-B33C-1D15BE2F2270}" dt="2026-07-11T17:57:14.510" v="2223"/>
          <ac:grpSpMkLst>
            <pc:docMk/>
            <pc:sldMk cId="3360397781" sldId="515"/>
            <ac:grpSpMk id="36" creationId="{25FB1099-51E7-CEC7-5CD1-210B5D5F6EBA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17:57:14.517" v="2244"/>
          <ac:graphicFrameMkLst>
            <pc:docMk/>
            <pc:sldMk cId="3360397781" sldId="515"/>
            <ac:graphicFrameMk id="6" creationId="{3C9FBE32-F843-4B42-9027-ACD9FF9B2A84}"/>
          </ac:graphicFrameMkLst>
        </pc:graphicFrameChg>
        <pc:graphicFrameChg chg="add del">
          <ac:chgData name="Dann Bleeker Pedersen" userId="34252400-a232-4440-8831-8cadcf57ce35" providerId="ADAL" clId="{5D18C0C2-102A-4970-B33C-1D15BE2F2270}" dt="2026-07-11T17:57:10.653" v="1914" actId="478"/>
          <ac:graphicFrameMkLst>
            <pc:docMk/>
            <pc:sldMk cId="3360397781" sldId="515"/>
            <ac:graphicFrameMk id="19" creationId="{A803F0AA-F3B9-9C53-0560-2D7E76F50C11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57:10.651" v="1913" actId="1076"/>
          <ac:graphicFrameMkLst>
            <pc:docMk/>
            <pc:sldMk cId="3360397781" sldId="515"/>
            <ac:graphicFrameMk id="28" creationId="{8E467451-0756-99DE-4D5D-B3181C3AEF55}"/>
          </ac:graphicFrameMkLst>
        </pc:graphicFrameChg>
        <pc:graphicFrameChg chg="del">
          <ac:chgData name="Dann Bleeker Pedersen" userId="34252400-a232-4440-8831-8cadcf57ce35" providerId="ADAL" clId="{5D18C0C2-102A-4970-B33C-1D15BE2F2270}" dt="2026-07-11T17:57:14.491" v="2190"/>
          <ac:graphicFrameMkLst>
            <pc:docMk/>
            <pc:sldMk cId="3360397781" sldId="515"/>
            <ac:graphicFrameMk id="41" creationId="{D9AC3282-21B9-72D4-AE43-DC903B2BA12F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57:14.512" v="2229"/>
          <ac:graphicFrameMkLst>
            <pc:docMk/>
            <pc:sldMk cId="3360397781" sldId="515"/>
            <ac:graphicFrameMk id="50" creationId="{6EEE7EB0-1893-6471-404C-5AD27C2F0E89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8:05:58.183" v="2658"/>
          <ac:graphicFrameMkLst>
            <pc:docMk/>
            <pc:sldMk cId="3360397781" sldId="515"/>
            <ac:graphicFrameMk id="53" creationId="{478F024B-1591-4ED0-8D65-DD3517CF70DA}"/>
          </ac:graphicFrameMkLst>
        </pc:graphicFrameChg>
        <pc:picChg chg="mod ord">
          <ac:chgData name="Dann Bleeker Pedersen" userId="34252400-a232-4440-8831-8cadcf57ce35" providerId="ADAL" clId="{5D18C0C2-102A-4970-B33C-1D15BE2F2270}" dt="2026-07-11T17:57:10.664" v="1938" actId="1076"/>
          <ac:picMkLst>
            <pc:docMk/>
            <pc:sldMk cId="3360397781" sldId="515"/>
            <ac:picMk id="11" creationId="{AFF39170-09BB-5160-2300-F89DD3A29657}"/>
          </ac:picMkLst>
        </pc:picChg>
        <pc:picChg chg="mod ord">
          <ac:chgData name="Dann Bleeker Pedersen" userId="34252400-a232-4440-8831-8cadcf57ce35" providerId="ADAL" clId="{5D18C0C2-102A-4970-B33C-1D15BE2F2270}" dt="2026-07-11T17:57:14.509" v="2217"/>
          <ac:picMkLst>
            <pc:docMk/>
            <pc:sldMk cId="3360397781" sldId="515"/>
            <ac:picMk id="33" creationId="{23B46782-1617-D0E2-D01F-5CC598BEFC30}"/>
          </ac:picMkLst>
        </pc:picChg>
        <pc:cxnChg chg="mod ord">
          <ac:chgData name="Dann Bleeker Pedersen" userId="34252400-a232-4440-8831-8cadcf57ce35" providerId="ADAL" clId="{5D18C0C2-102A-4970-B33C-1D15BE2F2270}" dt="2026-07-11T17:57:10.657" v="1924" actId="14100"/>
          <ac:cxnSpMkLst>
            <pc:docMk/>
            <pc:sldMk cId="3360397781" sldId="515"/>
            <ac:cxnSpMk id="17" creationId="{71FC27DF-E574-8C71-B925-B0CE7D312520}"/>
          </ac:cxnSpMkLst>
        </pc:cxnChg>
        <pc:cxnChg chg="mod ord">
          <ac:chgData name="Dann Bleeker Pedersen" userId="34252400-a232-4440-8831-8cadcf57ce35" providerId="ADAL" clId="{5D18C0C2-102A-4970-B33C-1D15BE2F2270}" dt="2026-07-11T17:57:10.656" v="1921" actId="14100"/>
          <ac:cxnSpMkLst>
            <pc:docMk/>
            <pc:sldMk cId="3360397781" sldId="515"/>
            <ac:cxnSpMk id="18" creationId="{CCC3396B-0F58-D133-3C45-A9CE686DCFC1}"/>
          </ac:cxnSpMkLst>
        </pc:cxnChg>
        <pc:cxnChg chg="mod ord">
          <ac:chgData name="Dann Bleeker Pedersen" userId="34252400-a232-4440-8831-8cadcf57ce35" providerId="ADAL" clId="{5D18C0C2-102A-4970-B33C-1D15BE2F2270}" dt="2026-07-11T17:57:10.654" v="1918" actId="14100"/>
          <ac:cxnSpMkLst>
            <pc:docMk/>
            <pc:sldMk cId="3360397781" sldId="515"/>
            <ac:cxnSpMk id="20" creationId="{32C46066-5F47-5FF5-0676-819AD6A212C1}"/>
          </ac:cxnSpMkLst>
        </pc:cxnChg>
        <pc:cxnChg chg="mod ord">
          <ac:chgData name="Dann Bleeker Pedersen" userId="34252400-a232-4440-8831-8cadcf57ce35" providerId="ADAL" clId="{5D18C0C2-102A-4970-B33C-1D15BE2F2270}" dt="2026-07-11T17:57:14.511" v="2225"/>
          <ac:cxnSpMkLst>
            <pc:docMk/>
            <pc:sldMk cId="3360397781" sldId="515"/>
            <ac:cxnSpMk id="39" creationId="{0FFF5E39-48A7-CEAF-77F8-E9FAACBF6FE7}"/>
          </ac:cxnSpMkLst>
        </pc:cxnChg>
        <pc:cxnChg chg="mod ord">
          <ac:chgData name="Dann Bleeker Pedersen" userId="34252400-a232-4440-8831-8cadcf57ce35" providerId="ADAL" clId="{5D18C0C2-102A-4970-B33C-1D15BE2F2270}" dt="2026-07-11T17:57:14.511" v="2227"/>
          <ac:cxnSpMkLst>
            <pc:docMk/>
            <pc:sldMk cId="3360397781" sldId="515"/>
            <ac:cxnSpMk id="40" creationId="{0BBD2A21-DD0D-D035-5F78-ED89172613C0}"/>
          </ac:cxnSpMkLst>
        </pc:cxnChg>
        <pc:cxnChg chg="mod ord">
          <ac:chgData name="Dann Bleeker Pedersen" userId="34252400-a232-4440-8831-8cadcf57ce35" providerId="ADAL" clId="{5D18C0C2-102A-4970-B33C-1D15BE2F2270}" dt="2026-07-11T17:57:14.512" v="2231"/>
          <ac:cxnSpMkLst>
            <pc:docMk/>
            <pc:sldMk cId="3360397781" sldId="515"/>
            <ac:cxnSpMk id="42" creationId="{99500199-AD58-2467-F45C-6ECDF70E806B}"/>
          </ac:cxnSpMkLst>
        </pc:cxnChg>
      </pc:sldChg>
      <pc:sldChg chg="addSp modSp new mod">
        <pc:chgData name="Dann Bleeker Pedersen" userId="34252400-a232-4440-8831-8cadcf57ce35" providerId="ADAL" clId="{5D18C0C2-102A-4970-B33C-1D15BE2F2270}" dt="2026-07-11T17:54:29.092" v="1576" actId="20577"/>
        <pc:sldMkLst>
          <pc:docMk/>
          <pc:sldMk cId="116776766" sldId="516"/>
        </pc:sldMkLst>
        <pc:spChg chg="mod">
          <ac:chgData name="Dann Bleeker Pedersen" userId="34252400-a232-4440-8831-8cadcf57ce35" providerId="ADAL" clId="{5D18C0C2-102A-4970-B33C-1D15BE2F2270}" dt="2026-07-11T17:54:11.568" v="1562"/>
          <ac:spMkLst>
            <pc:docMk/>
            <pc:sldMk cId="116776766" sldId="516"/>
            <ac:spMk id="2" creationId="{35917142-6088-9FF5-0E01-94170393B9F4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4:01.458" v="1552"/>
          <ac:graphicFrameMkLst>
            <pc:docMk/>
            <pc:sldMk cId="116776766" sldId="516"/>
            <ac:graphicFrameMk id="4" creationId="{CD71613D-9829-412F-3EA1-70F43DDF14BC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54:29.092" v="1576" actId="20577"/>
          <ac:graphicFrameMkLst>
            <pc:docMk/>
            <pc:sldMk cId="116776766" sldId="516"/>
            <ac:graphicFrameMk id="5" creationId="{E48AECBB-6BB8-7C4A-1A99-926EF2A705AA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54:56.446" v="1596"/>
        <pc:sldMkLst>
          <pc:docMk/>
          <pc:sldMk cId="3648957257" sldId="517"/>
        </pc:sldMkLst>
        <pc:spChg chg="mod">
          <ac:chgData name="Dann Bleeker Pedersen" userId="34252400-a232-4440-8831-8cadcf57ce35" providerId="ADAL" clId="{5D18C0C2-102A-4970-B33C-1D15BE2F2270}" dt="2026-07-11T17:54:51.291" v="1581" actId="299"/>
          <ac:spMkLst>
            <pc:docMk/>
            <pc:sldMk cId="3648957257" sldId="517"/>
            <ac:spMk id="2" creationId="{57204E95-2A40-186A-74D7-5EC5B067FA2F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4:51.313" v="1595"/>
          <ac:graphicFrameMkLst>
            <pc:docMk/>
            <pc:sldMk cId="3648957257" sldId="517"/>
            <ac:graphicFrameMk id="4" creationId="{5356E16D-4908-0263-C723-4537F5B06F40}"/>
          </ac:graphicFrameMkLst>
        </pc:graphicFrameChg>
        <pc:graphicFrameChg chg="add mod">
          <ac:chgData name="Dann Bleeker Pedersen" userId="34252400-a232-4440-8831-8cadcf57ce35" providerId="ADAL" clId="{5D18C0C2-102A-4970-B33C-1D15BE2F2270}" dt="2026-07-11T17:54:56.446" v="1596"/>
          <ac:graphicFrameMkLst>
            <pc:docMk/>
            <pc:sldMk cId="3648957257" sldId="517"/>
            <ac:graphicFrameMk id="5" creationId="{D042EDA9-2251-EDAD-5FEA-E60B2379BB0F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56:07.446" v="1629" actId="20577"/>
        <pc:sldMkLst>
          <pc:docMk/>
          <pc:sldMk cId="3484762657" sldId="518"/>
        </pc:sldMkLst>
        <pc:spChg chg="mod">
          <ac:chgData name="Dann Bleeker Pedersen" userId="34252400-a232-4440-8831-8cadcf57ce35" providerId="ADAL" clId="{5D18C0C2-102A-4970-B33C-1D15BE2F2270}" dt="2026-07-11T17:55:18.633" v="1601" actId="299"/>
          <ac:spMkLst>
            <pc:docMk/>
            <pc:sldMk cId="3484762657" sldId="518"/>
            <ac:spMk id="2" creationId="{A521CD72-6A10-B94E-A9E2-24773545E87D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5:18.652" v="1615"/>
          <ac:graphicFrameMkLst>
            <pc:docMk/>
            <pc:sldMk cId="3484762657" sldId="518"/>
            <ac:graphicFrameMk id="4" creationId="{0E9C59D4-A9F6-80F0-B4FF-58A8102F84EC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56:07.446" v="1629" actId="20577"/>
          <ac:graphicFrameMkLst>
            <pc:docMk/>
            <pc:sldMk cId="3484762657" sldId="518"/>
            <ac:graphicFrameMk id="5" creationId="{C6FB3752-1ED7-671C-8425-5B24E51D23F7}"/>
          </ac:graphicFrameMkLst>
        </pc:graphicFrame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6" creationId="{17C8D63A-A5E5-9227-CC89-07D2BD4F8A90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7" creationId="{8F4AF681-1710-736F-91E8-829E95F25F96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8" creationId="{4CD2A4E3-50FC-E3D2-2812-2461930322BD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9" creationId="{97E0DEC7-1758-2662-CC81-45359F583ACF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10" creationId="{1D3B0723-F25A-414D-EF84-B9FCE86D4F72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11" creationId="{E42004C4-C893-74C0-5AE7-ED90E18C05DE}"/>
          </ac:picMkLst>
        </pc:picChg>
      </pc:sldChg>
      <pc:sldChg chg="delSp modSp add del mod">
        <pc:chgData name="Dann Bleeker Pedersen" userId="34252400-a232-4440-8831-8cadcf57ce35" providerId="ADAL" clId="{5D18C0C2-102A-4970-B33C-1D15BE2F2270}" dt="2026-07-11T18:11:07.763" v="2723"/>
        <pc:sldMkLst>
          <pc:docMk/>
          <pc:sldMk cId="728103446" sldId="519"/>
        </pc:sldMkLst>
        <pc:graphicFrameChg chg="modGraphic">
          <ac:chgData name="Dann Bleeker Pedersen" userId="34252400-a232-4440-8831-8cadcf57ce35" providerId="ADAL" clId="{5D18C0C2-102A-4970-B33C-1D15BE2F2270}" dt="2026-07-11T18:10:53.355" v="2721"/>
          <ac:graphicFrameMkLst>
            <pc:docMk/>
            <pc:sldMk cId="728103446" sldId="519"/>
            <ac:graphicFrameMk id="53" creationId="{478F024B-1591-4ED0-8D65-DD3517CF70DA}"/>
          </ac:graphicFrameMkLst>
        </pc:graphicFrameChg>
        <pc:picChg chg="del">
          <ac:chgData name="Dann Bleeker Pedersen" userId="34252400-a232-4440-8831-8cadcf57ce35" providerId="ADAL" clId="{5D18C0C2-102A-4970-B33C-1D15BE2F2270}" dt="2026-07-11T18:06:52.062" v="2673"/>
          <ac:picMkLst>
            <pc:docMk/>
            <pc:sldMk cId="728103446" sldId="519"/>
            <ac:picMk id="33" creationId="{23B46782-1617-D0E2-D01F-5CC598BEFC30}"/>
          </ac:picMkLst>
        </pc:picChg>
      </pc:sldChg>
      <pc:sldChg chg="modSp add del mod">
        <pc:chgData name="Dann Bleeker Pedersen" userId="34252400-a232-4440-8831-8cadcf57ce35" providerId="ADAL" clId="{5D18C0C2-102A-4970-B33C-1D15BE2F2270}" dt="2026-07-11T18:13:03.002" v="2737"/>
        <pc:sldMkLst>
          <pc:docMk/>
          <pc:sldMk cId="1012799952" sldId="520"/>
        </pc:sldMkLst>
        <pc:graphicFrameChg chg="modGraphic">
          <ac:chgData name="Dann Bleeker Pedersen" userId="34252400-a232-4440-8831-8cadcf57ce35" providerId="ADAL" clId="{5D18C0C2-102A-4970-B33C-1D15BE2F2270}" dt="2026-07-11T18:11:07.924" v="2735"/>
          <ac:graphicFrameMkLst>
            <pc:docMk/>
            <pc:sldMk cId="1012799952" sldId="520"/>
            <ac:graphicFrameMk id="53" creationId="{478F024B-1591-4ED0-8D65-DD3517CF70DA}"/>
          </ac:graphicFrameMkLst>
        </pc:graphicFrameChg>
      </pc:sldChg>
      <pc:sldChg chg="addSp delSp modSp add mod">
        <pc:chgData name="Dann Bleeker Pedersen" userId="34252400-a232-4440-8831-8cadcf57ce35" providerId="ADAL" clId="{5D18C0C2-102A-4970-B33C-1D15BE2F2270}" dt="2026-07-11T18:38:34.925" v="2990"/>
        <pc:sldMkLst>
          <pc:docMk/>
          <pc:sldMk cId="2048617095" sldId="521"/>
        </pc:sldMkLst>
        <pc:spChg chg="add del mod modVis">
          <ac:chgData name="Dann Bleeker Pedersen" userId="34252400-a232-4440-8831-8cadcf57ce35" providerId="ADAL" clId="{5D18C0C2-102A-4970-B33C-1D15BE2F2270}" dt="2026-07-11T18:36:13.088" v="2937"/>
          <ac:spMkLst>
            <pc:docMk/>
            <pc:sldMk cId="2048617095" sldId="521"/>
            <ac:spMk id="2" creationId="{CA05B916-D937-98BE-3443-A61A004C0366}"/>
          </ac:spMkLst>
        </pc:spChg>
        <pc:spChg chg="mod">
          <ac:chgData name="Dann Bleeker Pedersen" userId="34252400-a232-4440-8831-8cadcf57ce35" providerId="ADAL" clId="{5D18C0C2-102A-4970-B33C-1D15BE2F2270}" dt="2026-07-11T18:36:13.053" v="2917" actId="299"/>
          <ac:spMkLst>
            <pc:docMk/>
            <pc:sldMk cId="2048617095" sldId="521"/>
            <ac:spMk id="5" creationId="{91E9A235-C008-3422-F9B8-43884D388167}"/>
          </ac:spMkLst>
        </pc:spChg>
        <pc:spChg chg="mod">
          <ac:chgData name="Dann Bleeker Pedersen" userId="34252400-a232-4440-8831-8cadcf57ce35" providerId="ADAL" clId="{5D18C0C2-102A-4970-B33C-1D15BE2F2270}" dt="2026-07-11T18:15:39.456" v="2811" actId="20577"/>
          <ac:spMkLst>
            <pc:docMk/>
            <pc:sldMk cId="2048617095" sldId="521"/>
            <ac:spMk id="31" creationId="{9A587F8C-02A5-5D84-EAE1-7926D9DECDB9}"/>
          </ac:spMkLst>
        </pc:spChg>
        <pc:spChg chg="mod">
          <ac:chgData name="Dann Bleeker Pedersen" userId="34252400-a232-4440-8831-8cadcf57ce35" providerId="ADAL" clId="{5D18C0C2-102A-4970-B33C-1D15BE2F2270}" dt="2026-07-11T18:36:13.086" v="2935"/>
          <ac:spMkLst>
            <pc:docMk/>
            <pc:sldMk cId="2048617095" sldId="521"/>
            <ac:spMk id="43" creationId="{C1482205-052D-1121-5DED-C9949FDDC11C}"/>
          </ac:spMkLst>
        </pc:spChg>
        <pc:spChg chg="mod">
          <ac:chgData name="Dann Bleeker Pedersen" userId="34252400-a232-4440-8831-8cadcf57ce35" providerId="ADAL" clId="{5D18C0C2-102A-4970-B33C-1D15BE2F2270}" dt="2026-07-11T18:36:15.468" v="2973"/>
          <ac:spMkLst>
            <pc:docMk/>
            <pc:sldMk cId="2048617095" sldId="521"/>
            <ac:spMk id="44" creationId="{5CD7F693-939F-D561-CAFC-73199CDE04B9}"/>
          </ac:spMkLst>
        </pc:spChg>
        <pc:spChg chg="mod">
          <ac:chgData name="Dann Bleeker Pedersen" userId="34252400-a232-4440-8831-8cadcf57ce35" providerId="ADAL" clId="{5D18C0C2-102A-4970-B33C-1D15BE2F2270}" dt="2026-07-11T18:36:15.468" v="2975"/>
          <ac:spMkLst>
            <pc:docMk/>
            <pc:sldMk cId="2048617095" sldId="521"/>
            <ac:spMk id="45" creationId="{6EB78BB5-1825-2252-BBF5-8B8DF99A2076}"/>
          </ac:spMkLst>
        </pc:spChg>
        <pc:spChg chg="mod">
          <ac:chgData name="Dann Bleeker Pedersen" userId="34252400-a232-4440-8831-8cadcf57ce35" providerId="ADAL" clId="{5D18C0C2-102A-4970-B33C-1D15BE2F2270}" dt="2026-07-11T18:36:13.081" v="2933" actId="948"/>
          <ac:spMkLst>
            <pc:docMk/>
            <pc:sldMk cId="2048617095" sldId="521"/>
            <ac:spMk id="46" creationId="{1F1EB634-8299-271E-2D38-6DAB730D2589}"/>
          </ac:spMkLst>
        </pc:spChg>
        <pc:graphicFrameChg chg="mod">
          <ac:chgData name="Dann Bleeker Pedersen" userId="34252400-a232-4440-8831-8cadcf57ce35" providerId="ADAL" clId="{5D18C0C2-102A-4970-B33C-1D15BE2F2270}" dt="2026-07-11T18:38:34.925" v="2990"/>
          <ac:graphicFrameMkLst>
            <pc:docMk/>
            <pc:sldMk cId="2048617095" sldId="521"/>
            <ac:graphicFrameMk id="6" creationId="{3C9FBE32-F843-4B42-9027-ACD9FF9B2A84}"/>
          </ac:graphicFrameMkLst>
        </pc:graphicFrameChg>
        <pc:graphicFrameChg chg="modGraphic">
          <ac:chgData name="Dann Bleeker Pedersen" userId="34252400-a232-4440-8831-8cadcf57ce35" providerId="ADAL" clId="{5D18C0C2-102A-4970-B33C-1D15BE2F2270}" dt="2026-07-11T18:15:50.957" v="2821" actId="20577"/>
          <ac:graphicFrameMkLst>
            <pc:docMk/>
            <pc:sldMk cId="2048617095" sldId="521"/>
            <ac:graphicFrameMk id="53" creationId="{478F024B-1591-4ED0-8D65-DD3517CF70DA}"/>
          </ac:graphicFrameMkLst>
        </pc:graphicFrameChg>
      </pc:sldChg>
      <pc:sldChg chg="add">
        <pc:chgData name="Dann Bleeker Pedersen" userId="34252400-a232-4440-8831-8cadcf57ce35" providerId="ADAL" clId="{5D18C0C2-102A-4970-B33C-1D15BE2F2270}" dt="2026-07-11T18:20:27.808" v="2822"/>
        <pc:sldMkLst>
          <pc:docMk/>
          <pc:sldMk cId="3651383945" sldId="522"/>
        </pc:sldMkLst>
      </pc:sldChg>
      <pc:sldMasterChg chg="modSp mod">
        <pc:chgData name="Dann Bleeker Pedersen" userId="34252400-a232-4440-8831-8cadcf57ce35" providerId="ADAL" clId="{5D18C0C2-102A-4970-B33C-1D15BE2F2270}" dt="2026-07-11T16:57:46.013" v="17"/>
        <pc:sldMasterMkLst>
          <pc:docMk/>
          <pc:sldMasterMk cId="4193522406" sldId="2147483672"/>
        </pc:sldMasterMkLst>
        <pc:spChg chg="mod">
          <ac:chgData name="Dann Bleeker Pedersen" userId="34252400-a232-4440-8831-8cadcf57ce35" providerId="ADAL" clId="{5D18C0C2-102A-4970-B33C-1D15BE2F2270}" dt="2026-07-11T16:57:46.004" v="10" actId="299"/>
          <ac:spMkLst>
            <pc:docMk/>
            <pc:sldMasterMk cId="4193522406" sldId="2147483672"/>
            <ac:spMk id="2" creationId="{00000000-0000-0000-0000-000000000000}"/>
          </ac:spMkLst>
        </pc:spChg>
        <pc:graphicFrameChg chg="mod">
          <ac:chgData name="Dann Bleeker Pedersen" userId="34252400-a232-4440-8831-8cadcf57ce35" providerId="ADAL" clId="{5D18C0C2-102A-4970-B33C-1D15BE2F2270}" dt="2026-07-11T16:57:46.013" v="17"/>
          <ac:graphicFrameMkLst>
            <pc:docMk/>
            <pc:sldMasterMk cId="4193522406" sldId="2147483672"/>
            <ac:graphicFrameMk id="4" creationId="{A02C86C9-571B-405E-B4E7-76EC4DF9E845}"/>
          </ac:graphicFrameMkLst>
        </pc:graphicFrameChg>
      </pc:sldMasterChg>
      <pc:sldMasterChg chg="add addSldLayout modSldLayout">
        <pc:chgData name="Dann Bleeker Pedersen" userId="34252400-a232-4440-8831-8cadcf57ce35" providerId="ADAL" clId="{5D18C0C2-102A-4970-B33C-1D15BE2F2270}" dt="2026-07-11T17:10:44.850" v="1074"/>
        <pc:sldMasterMkLst>
          <pc:docMk/>
          <pc:sldMasterMk cId="4193522406" sldId="2147483681"/>
        </pc:sldMasterMkLst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2450474835" sldId="2147483682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4001822029" sldId="2147483683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356590983" sldId="2147483684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509829800" sldId="2147483685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452599284" sldId="2147483686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2708253470" sldId="2147483687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4157829473" sldId="214748368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83524141363863E-2"/>
          <c:y val="0.15824915824915825"/>
          <c:w val="0.94823295171727229"/>
          <c:h val="0.73316498316498313"/>
        </c:manualLayout>
      </c:layout>
      <c:barChart>
        <c:barDir val="col"/>
        <c:grouping val="stacked"/>
        <c:varyColors val="0"/>
        <c:ser>
          <c:idx val="0"/>
          <c:order val="0"/>
          <c:spPr>
            <a:pattFill prst="ltDnDiag">
              <a:fgClr>
                <a:srgbClr val="000000"/>
              </a:fgClr>
              <a:bgClr>
                <a:srgbClr val="FFFFFF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33164983164983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0E9-4AED-9BDD-F7BE67FC2004}"/>
                </c:ext>
              </c:extLst>
            </c:dLbl>
            <c:dLbl>
              <c:idx val="1"/>
              <c:layout>
                <c:manualLayout>
                  <c:x val="0"/>
                  <c:y val="-0.327441077441077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0E9-4AED-9BDD-F7BE67FC2004}"/>
                </c:ext>
              </c:extLst>
            </c:dLbl>
            <c:dLbl>
              <c:idx val="2"/>
              <c:layout>
                <c:manualLayout>
                  <c:x val="0"/>
                  <c:y val="-0.415824915824915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0E9-4AED-9BDD-F7BE67FC20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.5</c:v>
                </c:pt>
                <c:pt idx="1">
                  <c:v>5.3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0E9-4AED-9BDD-F7BE67FC20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2441408"/>
        <c:axId val="1"/>
      </c:barChart>
      <c:catAx>
        <c:axId val="702441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02441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382CA3-B560-47CD-BD48-FD4E0CDC82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6" name="ButtomBox">
            <a:extLst>
              <a:ext uri="{FF2B5EF4-FFF2-40B4-BE49-F238E27FC236}">
                <a16:creationId xmlns:a16="http://schemas.microsoft.com/office/drawing/2014/main" id="{20C3E9AD-F95D-4473-9224-8E95F8E16FDE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61B3A22-D2E3-4FF5-9BC6-8836E60A3E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pPr algn="ctr"/>
            <a:fld id="{8BBE9EC4-8F44-4CF0-8A4B-61B019A15D23}" type="datetime2">
              <a:rPr lang="da-DK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16FE313-A64B-45DA-93DD-8853BE49D3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20031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601436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731520" y="3961233"/>
            <a:ext cx="5852160" cy="5128338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8" name="ButtomBox">
            <a:extLst>
              <a:ext uri="{FF2B5EF4-FFF2-40B4-BE49-F238E27FC236}">
                <a16:creationId xmlns:a16="http://schemas.microsoft.com/office/drawing/2014/main" id="{21F0A814-4AFB-440A-ADE7-8DA651D80146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2013BECE-8686-4CF2-9CF7-BEDFA13EA131}"/>
              </a:ext>
            </a:extLst>
          </p:cNvPr>
          <p:cNvSpPr txBox="1">
            <a:spLocks/>
          </p:cNvSpPr>
          <p:nvPr/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defPPr>
              <a:defRPr lang="da-DK"/>
            </a:defPPr>
            <a:lvl1pPr marL="0" algn="r" defTabSz="914400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BBE9EC4-8F44-4CF0-8A4B-61B019A15D23}" type="datetime2">
              <a:rPr lang="da-DK" sz="80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11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50959-0822-4B85-A9C9-0D67932E7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25017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17938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358775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538163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71913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/>
          <a:lstStyle/>
          <a:p>
            <a:fld id="{7AF83CC3-55FA-48C5-A62B-7CCA4DCD15F3}" type="slidenum">
              <a:rPr lang="da-DK" smtClean="0"/>
              <a:t>1</a:t>
            </a:fld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A38A97-1FBF-4B12-9FE6-3C6F44F5D2F5}"/>
              </a:ext>
            </a:extLst>
          </p:cNvPr>
          <p:cNvSpPr>
            <a:spLocks noGrp="1"/>
          </p:cNvSpPr>
          <p:nvPr>
            <p:ph type="dt" idx="1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/>
          <a:lstStyle/>
          <a:p>
            <a:fld id="{4F45CBB0-A475-4DA6-A327-E9FE87BB0949}" type="datetime2">
              <a:rPr lang="da-DK" smtClean="0"/>
              <a:t>11. juli 20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4418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4268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6" r:id="rId3"/>
    <p:sldLayoutId id="2147483677" r:id="rId4"/>
    <p:sldLayoutId id="2147483674" r:id="rId5"/>
    <p:sldLayoutId id="2147483678" r:id="rId6"/>
    <p:sldLayoutId id="2147483680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chart" Target="../charts/chart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5.xml"/><Relationship Id="rId6" Type="http://schemas.openxmlformats.org/officeDocument/2006/relationships/image" Target="../media/image4.jp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oleObject" Target="../embeddings/oleObject7.bin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4.jp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4.jp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366485-B60E-424B-A5E8-D8D1745B033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498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9" imgH="409" progId="TCLayout.ActiveDocument.1">
                  <p:embed/>
                </p:oleObj>
              </mc:Choice>
              <mc:Fallback>
                <p:oleObj name="think-cell Slide" r:id="rId5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366485-B60E-424B-A5E8-D8D1745B0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06C20D-D23D-48CD-AE8D-4D5CA9400C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dirty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0F8534B-CCA8-4A2C-9A0E-A0613E6956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cop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469AD6-8E34-4AA2-8874-827559293A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en-US" dirty="0"/>
              <a:t>[ </a:t>
            </a:r>
            <a:r>
              <a:rPr lang="en-US" dirty="0" err="1"/>
              <a:t>Projektnavn</a:t>
            </a:r>
            <a:r>
              <a:rPr lang="en-US" dirty="0"/>
              <a:t> ]</a:t>
            </a:r>
          </a:p>
        </p:txBody>
      </p:sp>
    </p:spTree>
    <p:extLst>
      <p:ext uri="{BB962C8B-B14F-4D97-AF65-F5344CB8AC3E}">
        <p14:creationId xmlns:p14="http://schemas.microsoft.com/office/powerpoint/2010/main" val="5421530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5366D7-20F7-DCAA-7CCF-58F67E4AF00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80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366D7-20F7-DCAA-7CCF-58F67E4AF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E2A379-5368-B92D-5659-EF6F5DAC4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7. Organiser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07723E-9E7D-E9F3-A828-3898B4B4C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0</a:t>
            </a:fld>
            <a:endParaRPr lang="da-DK" dirty="0"/>
          </a:p>
        </p:txBody>
      </p:sp>
      <p:graphicFrame>
        <p:nvGraphicFramePr>
          <p:cNvPr id="5" name="Tabel 25">
            <a:extLst>
              <a:ext uri="{FF2B5EF4-FFF2-40B4-BE49-F238E27FC236}">
                <a16:creationId xmlns:a16="http://schemas.microsoft.com/office/drawing/2014/main" id="{0FBABE94-ECDB-BC1F-004B-600D6F40FB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965789"/>
              </p:ext>
            </p:extLst>
          </p:nvPr>
        </p:nvGraphicFramePr>
        <p:xfrm>
          <a:off x="929332" y="1255290"/>
          <a:ext cx="10408712" cy="4917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5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86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5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532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984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/>
                        <a:t>Organisationsdiagr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Rollebeskrivelse</a:t>
                      </a:r>
                    </a:p>
                  </a:txBody>
                  <a:tcPr>
                    <a:lnL w="12700" cmpd="sng">
                      <a:noFill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Rolle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Beskrivels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Hvem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program ] møde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Statusrapportering </a:t>
                      </a:r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baseline="0" dirty="0"/>
                        <a:t>Tværgående prioritering</a:t>
                      </a:r>
                      <a:endParaRPr lang="da-DK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ledelse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Sponsor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Ejer af projektet</a:t>
                      </a:r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Rapportere til [ ledelse ]</a:t>
                      </a:r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Træffer</a:t>
                      </a:r>
                      <a:r>
                        <a:rPr lang="da-DK" sz="800" baseline="0" dirty="0"/>
                        <a:t> beslutninger</a:t>
                      </a:r>
                      <a:endParaRPr lang="da-DK" sz="800" dirty="0"/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Resursesikring</a:t>
                      </a:r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Eskalationspunkt for projektleder</a:t>
                      </a:r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Ansvarlig for fremdrifte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 [ Navn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Styregruppe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Sponsoren giver styregruppen et mandat ud fra dennes ansvar ]</a:t>
                      </a:r>
                      <a:endParaRPr lang="da-DK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 [ Navn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Projektleder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Organisere</a:t>
                      </a:r>
                      <a:r>
                        <a:rPr lang="da-DK" sz="800" baseline="0" dirty="0"/>
                        <a:t> arbejdet og skabe fremdrift i projektet</a:t>
                      </a:r>
                    </a:p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baseline="0" dirty="0"/>
                        <a:t>Problemløser/udførende på opgaver i projektet</a:t>
                      </a:r>
                      <a:endParaRPr lang="da-DK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 [ Navn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Projektgruppe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Skal løse</a:t>
                      </a:r>
                      <a:r>
                        <a:rPr lang="da-DK" sz="800" baseline="0" dirty="0"/>
                        <a:t> opgaverne i projektet sammen med projektlederen</a:t>
                      </a:r>
                      <a:endParaRPr lang="da-DK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Se</a:t>
                      </a:r>
                      <a:r>
                        <a:rPr lang="da-DK" sz="800" baseline="0" dirty="0"/>
                        <a:t> slide vedr. resurser for en uddybning af projektdeltagere</a:t>
                      </a:r>
                      <a:endParaRPr lang="da-DK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Rolle – navn fra diagram]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 Beskriv rollen</a:t>
                      </a:r>
                      <a:r>
                        <a:rPr lang="da-DK" sz="800" baseline="0" dirty="0"/>
                        <a:t> i relation til projektet ]</a:t>
                      </a:r>
                      <a:endParaRPr lang="da-DK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 Navn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Rolle ]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 Beskrivels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 [ Navn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Rolle ]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 Beskrivels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 [ Navn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Rolle ]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 Beskrivels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 [ Navne 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Noter: [ indsæt noter ]</a:t>
                      </a:r>
                    </a:p>
                  </a:txBody>
                  <a:tcPr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r>
                        <a:rPr lang="da-DK" sz="800" dirty="0"/>
                        <a:t>Noter: [ indsæt noter ]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6" name="Rektangel 8">
            <a:extLst>
              <a:ext uri="{FF2B5EF4-FFF2-40B4-BE49-F238E27FC236}">
                <a16:creationId xmlns:a16="http://schemas.microsoft.com/office/drawing/2014/main" id="{E95218E8-3D39-EDD2-5267-60D338161A77}"/>
              </a:ext>
            </a:extLst>
          </p:cNvPr>
          <p:cNvSpPr/>
          <p:nvPr/>
        </p:nvSpPr>
        <p:spPr bwMode="auto">
          <a:xfrm>
            <a:off x="2114992" y="2149270"/>
            <a:ext cx="1332148" cy="432048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[ program ]</a:t>
            </a:r>
            <a:r>
              <a:rPr kumimoji="0" lang="da-DK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 møde</a:t>
            </a:r>
            <a:endParaRPr kumimoji="0" lang="da-DK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Rektangel 9">
            <a:extLst>
              <a:ext uri="{FF2B5EF4-FFF2-40B4-BE49-F238E27FC236}">
                <a16:creationId xmlns:a16="http://schemas.microsoft.com/office/drawing/2014/main" id="{FAD5B00D-1AE7-1E7A-BDF3-72B8C2BEC037}"/>
              </a:ext>
            </a:extLst>
          </p:cNvPr>
          <p:cNvSpPr/>
          <p:nvPr/>
        </p:nvSpPr>
        <p:spPr bwMode="auto">
          <a:xfrm>
            <a:off x="1337906" y="3018079"/>
            <a:ext cx="133214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Sponsor</a:t>
            </a:r>
          </a:p>
        </p:txBody>
      </p:sp>
      <p:sp>
        <p:nvSpPr>
          <p:cNvPr id="8" name="Rektangel 10">
            <a:extLst>
              <a:ext uri="{FF2B5EF4-FFF2-40B4-BE49-F238E27FC236}">
                <a16:creationId xmlns:a16="http://schemas.microsoft.com/office/drawing/2014/main" id="{DCE3263E-9D31-D54C-5D70-F69CC0DF3734}"/>
              </a:ext>
            </a:extLst>
          </p:cNvPr>
          <p:cNvSpPr/>
          <p:nvPr/>
        </p:nvSpPr>
        <p:spPr bwMode="auto">
          <a:xfrm>
            <a:off x="3003091" y="3018079"/>
            <a:ext cx="133214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Styregruppe</a:t>
            </a:r>
          </a:p>
        </p:txBody>
      </p:sp>
      <p:cxnSp>
        <p:nvCxnSpPr>
          <p:cNvPr id="9" name="Lige forbindelse 14">
            <a:extLst>
              <a:ext uri="{FF2B5EF4-FFF2-40B4-BE49-F238E27FC236}">
                <a16:creationId xmlns:a16="http://schemas.microsoft.com/office/drawing/2014/main" id="{4492488A-A370-479D-C329-68AA5C4FAE4A}"/>
              </a:ext>
            </a:extLst>
          </p:cNvPr>
          <p:cNvCxnSpPr>
            <a:stCxn id="6" idx="2"/>
            <a:endCxn id="8" idx="0"/>
          </p:cNvCxnSpPr>
          <p:nvPr/>
        </p:nvCxnSpPr>
        <p:spPr bwMode="auto">
          <a:xfrm>
            <a:off x="2781066" y="2581318"/>
            <a:ext cx="888098" cy="436761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ktangel 17">
            <a:extLst>
              <a:ext uri="{FF2B5EF4-FFF2-40B4-BE49-F238E27FC236}">
                <a16:creationId xmlns:a16="http://schemas.microsoft.com/office/drawing/2014/main" id="{9C2B57D3-0173-C4D1-08FF-45AD7CE075D5}"/>
              </a:ext>
            </a:extLst>
          </p:cNvPr>
          <p:cNvSpPr/>
          <p:nvPr/>
        </p:nvSpPr>
        <p:spPr bwMode="auto">
          <a:xfrm>
            <a:off x="2111483" y="3882175"/>
            <a:ext cx="133214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Projektleder</a:t>
            </a:r>
          </a:p>
        </p:txBody>
      </p:sp>
      <p:cxnSp>
        <p:nvCxnSpPr>
          <p:cNvPr id="11" name="Lige forbindelse 19">
            <a:extLst>
              <a:ext uri="{FF2B5EF4-FFF2-40B4-BE49-F238E27FC236}">
                <a16:creationId xmlns:a16="http://schemas.microsoft.com/office/drawing/2014/main" id="{A8451814-0F2C-E7B5-0581-17C993214EC9}"/>
              </a:ext>
            </a:extLst>
          </p:cNvPr>
          <p:cNvCxnSpPr>
            <a:stCxn id="8" idx="2"/>
            <a:endCxn id="10" idx="0"/>
          </p:cNvCxnSpPr>
          <p:nvPr/>
        </p:nvCxnSpPr>
        <p:spPr bwMode="auto">
          <a:xfrm flipH="1">
            <a:off x="2777557" y="3450127"/>
            <a:ext cx="891607" cy="432048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ktangel 22">
            <a:extLst>
              <a:ext uri="{FF2B5EF4-FFF2-40B4-BE49-F238E27FC236}">
                <a16:creationId xmlns:a16="http://schemas.microsoft.com/office/drawing/2014/main" id="{D899AFE5-2406-F63F-F2BC-E7740CA7FD02}"/>
              </a:ext>
            </a:extLst>
          </p:cNvPr>
          <p:cNvSpPr/>
          <p:nvPr/>
        </p:nvSpPr>
        <p:spPr bwMode="auto">
          <a:xfrm>
            <a:off x="2111483" y="4531426"/>
            <a:ext cx="133214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Projektgruppe</a:t>
            </a:r>
          </a:p>
        </p:txBody>
      </p:sp>
      <p:cxnSp>
        <p:nvCxnSpPr>
          <p:cNvPr id="13" name="Lige forbindelse 24">
            <a:extLst>
              <a:ext uri="{FF2B5EF4-FFF2-40B4-BE49-F238E27FC236}">
                <a16:creationId xmlns:a16="http://schemas.microsoft.com/office/drawing/2014/main" id="{C8020F35-A202-F608-5019-A14F2E5B6F04}"/>
              </a:ext>
            </a:extLst>
          </p:cNvPr>
          <p:cNvCxnSpPr>
            <a:stCxn id="10" idx="2"/>
            <a:endCxn id="12" idx="0"/>
          </p:cNvCxnSpPr>
          <p:nvPr/>
        </p:nvCxnSpPr>
        <p:spPr bwMode="auto">
          <a:xfrm>
            <a:off x="2777557" y="4314223"/>
            <a:ext cx="0" cy="217203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Lige forbindelse 36">
            <a:extLst>
              <a:ext uri="{FF2B5EF4-FFF2-40B4-BE49-F238E27FC236}">
                <a16:creationId xmlns:a16="http://schemas.microsoft.com/office/drawing/2014/main" id="{1E535BA2-A4EB-2D23-840C-4F18B741C999}"/>
              </a:ext>
            </a:extLst>
          </p:cNvPr>
          <p:cNvCxnSpPr>
            <a:stCxn id="6" idx="2"/>
            <a:endCxn id="7" idx="0"/>
          </p:cNvCxnSpPr>
          <p:nvPr/>
        </p:nvCxnSpPr>
        <p:spPr bwMode="auto">
          <a:xfrm flipH="1">
            <a:off x="2003980" y="2581318"/>
            <a:ext cx="777086" cy="436761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Lige forbindelse 41">
            <a:extLst>
              <a:ext uri="{FF2B5EF4-FFF2-40B4-BE49-F238E27FC236}">
                <a16:creationId xmlns:a16="http://schemas.microsoft.com/office/drawing/2014/main" id="{8CF1FF9D-496C-4CFE-D039-C789202EA6E3}"/>
              </a:ext>
            </a:extLst>
          </p:cNvPr>
          <p:cNvCxnSpPr>
            <a:stCxn id="10" idx="0"/>
            <a:endCxn id="7" idx="2"/>
          </p:cNvCxnSpPr>
          <p:nvPr/>
        </p:nvCxnSpPr>
        <p:spPr bwMode="auto">
          <a:xfrm flipH="1" flipV="1">
            <a:off x="2003980" y="3450127"/>
            <a:ext cx="773577" cy="432048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ktangel 51">
            <a:extLst>
              <a:ext uri="{FF2B5EF4-FFF2-40B4-BE49-F238E27FC236}">
                <a16:creationId xmlns:a16="http://schemas.microsoft.com/office/drawing/2014/main" id="{C10B0A67-BB67-648A-4C5B-9BDAC969E48E}"/>
              </a:ext>
            </a:extLst>
          </p:cNvPr>
          <p:cNvSpPr/>
          <p:nvPr/>
        </p:nvSpPr>
        <p:spPr bwMode="auto">
          <a:xfrm>
            <a:off x="1373383" y="5482771"/>
            <a:ext cx="177618" cy="146457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7" name="Rektangel 52">
            <a:extLst>
              <a:ext uri="{FF2B5EF4-FFF2-40B4-BE49-F238E27FC236}">
                <a16:creationId xmlns:a16="http://schemas.microsoft.com/office/drawing/2014/main" id="{F6094EE5-93DA-2BB6-838D-8F4481BA348F}"/>
              </a:ext>
            </a:extLst>
          </p:cNvPr>
          <p:cNvSpPr/>
          <p:nvPr/>
        </p:nvSpPr>
        <p:spPr bwMode="auto">
          <a:xfrm>
            <a:off x="3038566" y="5482771"/>
            <a:ext cx="177619" cy="1467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Tekstfelt 53">
            <a:extLst>
              <a:ext uri="{FF2B5EF4-FFF2-40B4-BE49-F238E27FC236}">
                <a16:creationId xmlns:a16="http://schemas.microsoft.com/office/drawing/2014/main" id="{A80E0789-6804-9C3C-2FB0-F7F40048623C}"/>
              </a:ext>
            </a:extLst>
          </p:cNvPr>
          <p:cNvSpPr txBox="1"/>
          <p:nvPr/>
        </p:nvSpPr>
        <p:spPr>
          <a:xfrm>
            <a:off x="1639811" y="5507955"/>
            <a:ext cx="115452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600" dirty="0"/>
              <a:t>Uden for projektet</a:t>
            </a:r>
          </a:p>
        </p:txBody>
      </p:sp>
      <p:sp>
        <p:nvSpPr>
          <p:cNvPr id="19" name="Tekstfelt 54">
            <a:extLst>
              <a:ext uri="{FF2B5EF4-FFF2-40B4-BE49-F238E27FC236}">
                <a16:creationId xmlns:a16="http://schemas.microsoft.com/office/drawing/2014/main" id="{E2B29CF9-B320-6DDC-4F13-2FAF73D1F8DB}"/>
              </a:ext>
            </a:extLst>
          </p:cNvPr>
          <p:cNvSpPr txBox="1"/>
          <p:nvPr/>
        </p:nvSpPr>
        <p:spPr>
          <a:xfrm>
            <a:off x="3304996" y="5507955"/>
            <a:ext cx="115452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600" dirty="0"/>
              <a:t>Del af projektet</a:t>
            </a:r>
          </a:p>
        </p:txBody>
      </p:sp>
      <p:sp>
        <p:nvSpPr>
          <p:cNvPr id="20" name="Tekstfelt 55">
            <a:extLst>
              <a:ext uri="{FF2B5EF4-FFF2-40B4-BE49-F238E27FC236}">
                <a16:creationId xmlns:a16="http://schemas.microsoft.com/office/drawing/2014/main" id="{D12B74CB-8DA7-81A1-8CB2-904F1056119A}"/>
              </a:ext>
            </a:extLst>
          </p:cNvPr>
          <p:cNvSpPr txBox="1"/>
          <p:nvPr/>
        </p:nvSpPr>
        <p:spPr>
          <a:xfrm rot="19030343">
            <a:off x="791556" y="2513926"/>
            <a:ext cx="335658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b="1" dirty="0">
                <a:solidFill>
                  <a:srgbClr val="FF0000"/>
                </a:solidFill>
              </a:rPr>
              <a:t>Dummy</a:t>
            </a:r>
            <a:endParaRPr lang="da-DK" b="1" dirty="0">
              <a:solidFill>
                <a:srgbClr val="FF0000"/>
              </a:solidFill>
            </a:endParaRPr>
          </a:p>
        </p:txBody>
      </p:sp>
      <p:sp>
        <p:nvSpPr>
          <p:cNvPr id="21" name="Tekstfelt 55">
            <a:extLst>
              <a:ext uri="{FF2B5EF4-FFF2-40B4-BE49-F238E27FC236}">
                <a16:creationId xmlns:a16="http://schemas.microsoft.com/office/drawing/2014/main" id="{74353732-B75E-5541-9A55-E7CEE76D5481}"/>
              </a:ext>
            </a:extLst>
          </p:cNvPr>
          <p:cNvSpPr txBox="1"/>
          <p:nvPr/>
        </p:nvSpPr>
        <p:spPr>
          <a:xfrm rot="19030343">
            <a:off x="6120147" y="3359806"/>
            <a:ext cx="335658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b="1" dirty="0">
                <a:solidFill>
                  <a:srgbClr val="FF0000"/>
                </a:solidFill>
              </a:rPr>
              <a:t>Dummy</a:t>
            </a:r>
            <a:endParaRPr lang="da-DK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9383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9CE4454-17A8-A451-ABB0-3F863E5195A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42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CE4454-17A8-A451-ABB0-3F863E519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4EA599-3056-EB0B-4B4F-B128A6396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8. Planlagt rapportering og kommunik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FFA7A1-E780-B422-AA72-4170DEF91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1</a:t>
            </a:fld>
            <a:endParaRPr lang="da-DK" dirty="0"/>
          </a:p>
        </p:txBody>
      </p:sp>
      <p:graphicFrame>
        <p:nvGraphicFramePr>
          <p:cNvPr id="5" name="Tabel 6">
            <a:extLst>
              <a:ext uri="{FF2B5EF4-FFF2-40B4-BE49-F238E27FC236}">
                <a16:creationId xmlns:a16="http://schemas.microsoft.com/office/drawing/2014/main" id="{C8985131-10AC-16C2-E6E2-3A93513FA5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062219"/>
              </p:ext>
            </p:extLst>
          </p:nvPr>
        </p:nvGraphicFramePr>
        <p:xfrm>
          <a:off x="1033837" y="1699488"/>
          <a:ext cx="10700400" cy="3601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312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54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776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2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33216"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216"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Rapportering</a:t>
                      </a:r>
                    </a:p>
                  </a:txBody>
                  <a:tcPr anchor="ctr">
                    <a:lnL w="12700" cmpd="sng"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Format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Indhold</a:t>
                      </a:r>
                    </a:p>
                  </a:txBody>
                  <a:tcPr anchor="ctr"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Målgrupp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Frekve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Ansvarlig</a:t>
                      </a:r>
                    </a:p>
                  </a:txBody>
                  <a:tcPr anchor="ctr">
                    <a:lnL w="12700" cmpd="sng"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baseline="0" dirty="0"/>
                        <a:t>[ program ] status</a:t>
                      </a:r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Mail teks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Fremdrift</a:t>
                      </a:r>
                      <a:r>
                        <a:rPr lang="da-DK" sz="800" baseline="0" dirty="0"/>
                        <a:t> siden sidst (TOP3)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Plan</a:t>
                      </a:r>
                      <a:r>
                        <a:rPr lang="da-DK" sz="800" baseline="0" dirty="0"/>
                        <a:t> til næste gang (TOP3)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Trafiklys-farve</a:t>
                      </a:r>
                    </a:p>
                  </a:txBody>
                  <a:tcPr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Sponsor</a:t>
                      </a:r>
                      <a:r>
                        <a:rPr lang="da-DK" sz="800" baseline="0" dirty="0"/>
                        <a:t> </a:t>
                      </a:r>
                      <a:br>
                        <a:rPr lang="da-DK" sz="800" baseline="0" dirty="0"/>
                      </a:br>
                      <a:r>
                        <a:rPr lang="da-DK" sz="800" baseline="0" dirty="0"/>
                        <a:t>(der informere resten af [ ledelsen ])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Hver 14 dag</a:t>
                      </a:r>
                      <a:br>
                        <a:rPr lang="da-DK" sz="800" dirty="0"/>
                      </a:br>
                      <a:r>
                        <a:rPr lang="da-DK" sz="800" dirty="0"/>
                        <a:t>(mandag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Navn på projektleder ]</a:t>
                      </a:r>
                    </a:p>
                  </a:txBody>
                  <a:tcPr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/>
                      <a:r>
                        <a:rPr lang="da-DK" sz="800" dirty="0"/>
                        <a:t>Nyhedsbrev</a:t>
                      </a:r>
                      <a:r>
                        <a:rPr lang="da-DK" sz="800" baseline="0" dirty="0"/>
                        <a:t> fra [ afdeling ]</a:t>
                      </a:r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M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Status på KPI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Status</a:t>
                      </a:r>
                      <a:r>
                        <a:rPr lang="da-DK" sz="800" baseline="0" dirty="0"/>
                        <a:t> på [ program ]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baseline="0" dirty="0"/>
                        <a:t>Ugens fokusprojekt</a:t>
                      </a:r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 ledelse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Månedligt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Navn ]</a:t>
                      </a:r>
                    </a:p>
                  </a:txBody>
                  <a:tcPr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/>
                      <a:r>
                        <a:rPr lang="da-DK" sz="800" dirty="0"/>
                        <a:t>[ Rapportnavn –</a:t>
                      </a:r>
                      <a:r>
                        <a:rPr lang="da-DK" sz="800" baseline="0" dirty="0"/>
                        <a:t> husk også styregruppemøder og lign.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PPT, fysisk </a:t>
                      </a:r>
                      <a:r>
                        <a:rPr lang="da-DK" sz="800" baseline="0" dirty="0" err="1"/>
                        <a:t>email</a:t>
                      </a:r>
                      <a:r>
                        <a:rPr lang="da-DK" sz="800" baseline="0" dirty="0"/>
                        <a:t>, </a:t>
                      </a:r>
                      <a:r>
                        <a:rPr lang="da-DK" sz="800" baseline="0" dirty="0" err="1"/>
                        <a:t>excel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</a:txBody>
                  <a:tcPr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Personnavn ]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baseline="0" dirty="0"/>
                        <a:t>[ el. gruppenavn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Mandag i lige ug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dirty="0"/>
                        <a:t>[ Rapportnavn 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Format 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</a:txBody>
                  <a:tcPr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Personnavn ]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baseline="0" dirty="0"/>
                        <a:t>[ el. gruppenavn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Mandag i lige ug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dirty="0"/>
                        <a:t>[ Rapportnavn ]</a:t>
                      </a:r>
                    </a:p>
                  </a:txBody>
                  <a:tcPr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Format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Personnavn ]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baseline="0" dirty="0"/>
                        <a:t>[ el. gruppenavn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Mandag i lige ug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dirty="0"/>
                        <a:t>[ Rapportnavn ]</a:t>
                      </a:r>
                    </a:p>
                  </a:txBody>
                  <a:tcPr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Format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800" dirty="0"/>
                        <a:t>[ Væsentligste indhold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Personnavn ]</a:t>
                      </a:r>
                    </a:p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r>
                        <a:rPr lang="da-DK" sz="800" baseline="0" dirty="0"/>
                        <a:t>[ el. gruppenavn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Mandag i lige ug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dirty="0"/>
                        <a:t>Noter: [ Indsæt noter 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85725" marR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85725" indent="-85725">
                        <a:buFont typeface="Arial" panose="020B0604020202020204" pitchFamily="34" charset="0"/>
                        <a:buChar char="•"/>
                      </a:pPr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42524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903DD8-7B0F-EEC1-E491-A0FB336789B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744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903DD8-7B0F-EEC1-E491-A0FB33678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6E59CC5-0E40-3CCF-6152-681E14948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Bila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1C2FA2-BC40-4B78-B474-611A4C0AF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[ projektnavn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FE0AD7-AA40-EFB6-8081-82AEFDD167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79514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C9FBE32-F843-4B42-9027-ACD9FF9B2A8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617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3" progId="TCLayout.ActiveDocument.1">
                  <p:embed/>
                </p:oleObj>
              </mc:Choice>
              <mc:Fallback>
                <p:oleObj name="think-cell Slide" r:id="rId11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FBE32-F843-4B42-9027-ACD9FF9B2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1E9A235-C008-3422-F9B8-43884D388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Business Case Ligh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0A59C2-0AD9-A81D-DA47-0173FDD37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3</a:t>
            </a:fld>
            <a:endParaRPr lang="da-DK" dirty="0"/>
          </a:p>
        </p:txBody>
      </p:sp>
      <p:grpSp>
        <p:nvGrpSpPr>
          <p:cNvPr id="29" name="Gruppe 9">
            <a:extLst>
              <a:ext uri="{FF2B5EF4-FFF2-40B4-BE49-F238E27FC236}">
                <a16:creationId xmlns:a16="http://schemas.microsoft.com/office/drawing/2014/main" id="{6E9B4D8C-74EA-80F4-1EB8-DA653E1C95C8}"/>
              </a:ext>
            </a:extLst>
          </p:cNvPr>
          <p:cNvGrpSpPr/>
          <p:nvPr/>
        </p:nvGrpSpPr>
        <p:grpSpPr>
          <a:xfrm>
            <a:off x="4816475" y="1292225"/>
            <a:ext cx="3708412" cy="4651349"/>
            <a:chOff x="5652120" y="1484784"/>
            <a:chExt cx="2772308" cy="4651349"/>
          </a:xfrm>
        </p:grpSpPr>
        <p:sp>
          <p:nvSpPr>
            <p:cNvPr id="30" name="Rektangel 20">
              <a:extLst>
                <a:ext uri="{FF2B5EF4-FFF2-40B4-BE49-F238E27FC236}">
                  <a16:creationId xmlns:a16="http://schemas.microsoft.com/office/drawing/2014/main" id="{F4849063-45D5-1D13-FCC2-1BE31A879E05}"/>
                </a:ext>
              </a:extLst>
            </p:cNvPr>
            <p:cNvSpPr/>
            <p:nvPr/>
          </p:nvSpPr>
          <p:spPr bwMode="auto">
            <a:xfrm>
              <a:off x="5652120" y="1671637"/>
              <a:ext cx="2772308" cy="4464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baseline="0" dirty="0"/>
                <a:t>[ Indsæt primære drivers i casen – FTE besparelse på X grundet Y, omsætningseffekter, etc.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Disse genbruges som </a:t>
              </a:r>
              <a:r>
                <a:rPr lang="da-DK" sz="1000" dirty="0" err="1"/>
                <a:t>KPI’er</a:t>
              </a:r>
              <a:r>
                <a:rPr lang="da-DK" sz="1000" dirty="0"/>
                <a:t>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Er der ingen mulighed for NPV beregning så laves denne kasse også om en ikke økonomisk værdi. Husk at vise den med en graf, et billede eller noget helt tredje – eks. specifikke [ program ] spørgsmål. ]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000" b="1" u="sng" dirty="0"/>
                <a:t>Øvrige forudsætninger for beregning</a:t>
              </a:r>
            </a:p>
            <a:p>
              <a:pPr marL="92075" marR="0" indent="-92075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Indsæt øvrige forudsætninger ]</a:t>
              </a:r>
              <a:endParaRPr lang="da-DK" sz="1000" baseline="0" dirty="0"/>
            </a:p>
          </p:txBody>
        </p:sp>
        <p:sp>
          <p:nvSpPr>
            <p:cNvPr id="31" name="Rektangel 1">
              <a:extLst>
                <a:ext uri="{FF2B5EF4-FFF2-40B4-BE49-F238E27FC236}">
                  <a16:creationId xmlns:a16="http://schemas.microsoft.com/office/drawing/2014/main" id="{9A587F8C-02A5-5D84-EAE1-7926D9DECDB9}"/>
                </a:ext>
              </a:extLst>
            </p:cNvPr>
            <p:cNvSpPr/>
            <p:nvPr/>
          </p:nvSpPr>
          <p:spPr bwMode="auto">
            <a:xfrm>
              <a:off x="5652120" y="1484784"/>
              <a:ext cx="2772308" cy="36004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da-DK" sz="1200" dirty="0">
                  <a:solidFill>
                    <a:schemeClr val="bg1"/>
                  </a:solidFill>
                </a:rPr>
                <a:t>3 årig NPV på XXX,- kr.</a:t>
              </a:r>
            </a:p>
          </p:txBody>
        </p:sp>
      </p:grpSp>
      <p:sp>
        <p:nvSpPr>
          <p:cNvPr id="34" name="Tekstfelt 55">
            <a:extLst>
              <a:ext uri="{FF2B5EF4-FFF2-40B4-BE49-F238E27FC236}">
                <a16:creationId xmlns:a16="http://schemas.microsoft.com/office/drawing/2014/main" id="{1719CB20-5572-4F9C-AC23-7993261D0004}"/>
              </a:ext>
            </a:extLst>
          </p:cNvPr>
          <p:cNvSpPr txBox="1"/>
          <p:nvPr/>
        </p:nvSpPr>
        <p:spPr>
          <a:xfrm rot="19030343">
            <a:off x="5280025" y="2471738"/>
            <a:ext cx="272155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b="1" dirty="0">
                <a:solidFill>
                  <a:srgbClr val="FF0000"/>
                </a:solidFill>
              </a:rPr>
              <a:t>Dummy</a:t>
            </a:r>
          </a:p>
        </p:txBody>
      </p:sp>
      <p:grpSp>
        <p:nvGrpSpPr>
          <p:cNvPr id="36" name="Gruppe 96">
            <a:extLst>
              <a:ext uri="{FF2B5EF4-FFF2-40B4-BE49-F238E27FC236}">
                <a16:creationId xmlns:a16="http://schemas.microsoft.com/office/drawing/2014/main" id="{25FB1099-51E7-CEC7-5CD1-210B5D5F6EBA}"/>
              </a:ext>
            </a:extLst>
          </p:cNvPr>
          <p:cNvGrpSpPr/>
          <p:nvPr/>
        </p:nvGrpSpPr>
        <p:grpSpPr>
          <a:xfrm>
            <a:off x="784225" y="1292225"/>
            <a:ext cx="3708412" cy="4651349"/>
            <a:chOff x="5652120" y="1484784"/>
            <a:chExt cx="2772308" cy="4651349"/>
          </a:xfrm>
        </p:grpSpPr>
        <p:sp>
          <p:nvSpPr>
            <p:cNvPr id="37" name="Rektangel 97">
              <a:extLst>
                <a:ext uri="{FF2B5EF4-FFF2-40B4-BE49-F238E27FC236}">
                  <a16:creationId xmlns:a16="http://schemas.microsoft.com/office/drawing/2014/main" id="{A02A64FE-4E31-7AAB-29FB-D4959F31B476}"/>
                </a:ext>
              </a:extLst>
            </p:cNvPr>
            <p:cNvSpPr/>
            <p:nvPr/>
          </p:nvSpPr>
          <p:spPr bwMode="auto">
            <a:xfrm>
              <a:off x="5652120" y="1671637"/>
              <a:ext cx="2772308" cy="4464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baseline="0" dirty="0"/>
                <a:t>[ Bemærkninger til ovenstående KPI udvikling og hvad der skal</a:t>
              </a:r>
              <a:r>
                <a:rPr lang="da-DK" sz="1000" dirty="0"/>
                <a:t> få den til at udvikle sig som ønsket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Husk at perioden ikke skal være al for lang, men matche den for NPV beregning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Husk også at henvise til mere højfrekvente KPI målinger under KPI siden og definitionen heraf ]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000" b="1" u="sng" dirty="0"/>
                <a:t>Øvrige positive effekter ved projektet</a:t>
              </a:r>
            </a:p>
            <a:p>
              <a:pPr marL="92075" marR="0" indent="-92075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Indsæt øvrige gode ting: ESAT effekter, CSAT effekter, NPS effekter, strategisk retning eller noget helt tredje  - gerne flere </a:t>
              </a:r>
              <a:r>
                <a:rPr lang="da-DK" sz="1000" dirty="0" err="1"/>
                <a:t>bullets</a:t>
              </a:r>
              <a:r>
                <a:rPr lang="da-DK" sz="1000" dirty="0"/>
                <a:t> ]</a:t>
              </a:r>
              <a:endParaRPr lang="da-DK" sz="1000" baseline="0" dirty="0"/>
            </a:p>
          </p:txBody>
        </p:sp>
        <p:sp>
          <p:nvSpPr>
            <p:cNvPr id="38" name="Rektangel 98">
              <a:extLst>
                <a:ext uri="{FF2B5EF4-FFF2-40B4-BE49-F238E27FC236}">
                  <a16:creationId xmlns:a16="http://schemas.microsoft.com/office/drawing/2014/main" id="{52CE22C1-36E1-7CE0-9021-4583544B6CA8}"/>
                </a:ext>
              </a:extLst>
            </p:cNvPr>
            <p:cNvSpPr/>
            <p:nvPr/>
          </p:nvSpPr>
          <p:spPr bwMode="auto">
            <a:xfrm>
              <a:off x="5652120" y="1484784"/>
              <a:ext cx="2772308" cy="36004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da-DK" sz="1200" dirty="0">
                  <a:solidFill>
                    <a:schemeClr val="bg1"/>
                  </a:solidFill>
                </a:rPr>
                <a:t>[ God overskrift om: Ikke økonomiske effekter ]</a:t>
              </a:r>
            </a:p>
          </p:txBody>
        </p:sp>
      </p:grpSp>
      <p:cxnSp>
        <p:nvCxnSpPr>
          <p:cNvPr id="39" name="Lige forbindelse 14354">
            <a:extLst>
              <a:ext uri="{FF2B5EF4-FFF2-40B4-BE49-F238E27FC236}">
                <a16:creationId xmlns:a16="http://schemas.microsoft.com/office/drawing/2014/main" id="{0FFF5E39-48A7-CEAF-77F8-E9FAACBF6FE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1751013" y="2570163"/>
            <a:ext cx="447675" cy="355600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Lige forbindelse 14355">
            <a:extLst>
              <a:ext uri="{FF2B5EF4-FFF2-40B4-BE49-F238E27FC236}">
                <a16:creationId xmlns:a16="http://schemas.microsoft.com/office/drawing/2014/main" id="{0BBD2A21-DD0D-D035-5F78-ED89172613C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759075" y="2235200"/>
            <a:ext cx="447675" cy="334963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6EEE7EB0-1893-6471-404C-5AD27C2F0E8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84238" y="1936750"/>
          <a:ext cx="3189287" cy="188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42" name="Lige forbindelse 14353">
            <a:extLst>
              <a:ext uri="{FF2B5EF4-FFF2-40B4-BE49-F238E27FC236}">
                <a16:creationId xmlns:a16="http://schemas.microsoft.com/office/drawing/2014/main" id="{99500199-AD58-2467-F45C-6ECDF70E806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470025" y="1825625"/>
            <a:ext cx="2016125" cy="690563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3" name="Rektangel 15">
            <a:extLst>
              <a:ext uri="{FF2B5EF4-FFF2-40B4-BE49-F238E27FC236}">
                <a16:creationId xmlns:a16="http://schemas.microsoft.com/office/drawing/2014/main" id="{C1482205-052D-1121-5DED-C9949FDDC11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308100" y="3656013"/>
            <a:ext cx="32543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C5292333-ACD1-424B-9BDC-99BA09067E18}" type="datetime'2''''''0''''''''’''''''''''''''x''''''''''''''''''''x'''">
              <a:rPr lang="en-US" altLang="en-US" sz="900" smtClean="0"/>
              <a:pPr algn="ctr"/>
              <a:t>20’xx</a:t>
            </a:fld>
            <a:endParaRPr kumimoji="0" lang="da-DK" sz="900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4" name="Rektangel 25">
            <a:extLst>
              <a:ext uri="{FF2B5EF4-FFF2-40B4-BE49-F238E27FC236}">
                <a16:creationId xmlns:a16="http://schemas.microsoft.com/office/drawing/2014/main" id="{5CD7F693-939F-D561-CAFC-73199CDE04B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6163" y="3656013"/>
            <a:ext cx="32543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90411171-828F-4BAF-9726-A80C91795104}" type="datetime'''''''2''0''''''''''''''’''''''''''''''x''''''x'''">
              <a:rPr lang="en-US" altLang="en-US" sz="900" smtClean="0"/>
              <a:pPr algn="ctr"/>
              <a:t>20’xx</a:t>
            </a:fld>
            <a:endParaRPr kumimoji="0" lang="da-DK" sz="900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5" name="Rektangel 14335">
            <a:extLst>
              <a:ext uri="{FF2B5EF4-FFF2-40B4-BE49-F238E27FC236}">
                <a16:creationId xmlns:a16="http://schemas.microsoft.com/office/drawing/2014/main" id="{6EB78BB5-1825-2252-BBF5-8B8DF99A207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324225" y="3656013"/>
            <a:ext cx="32543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A3BD94A1-B509-4873-9208-916DE40E772E}" type="datetime'''''2''''''''''''''0''''’x''''''''''x'''''''''''''''''''''''''">
              <a:rPr lang="en-US" altLang="en-US" sz="900" smtClean="0"/>
              <a:pPr algn="ctr"/>
              <a:t>20’xx</a:t>
            </a:fld>
            <a:endParaRPr kumimoji="0" lang="da-DK" sz="900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6" name="Ellipse 14352">
            <a:extLst>
              <a:ext uri="{FF2B5EF4-FFF2-40B4-BE49-F238E27FC236}">
                <a16:creationId xmlns:a16="http://schemas.microsoft.com/office/drawing/2014/main" id="{1F1EB634-8299-271E-2D38-6DAB730D258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30413" y="2033588"/>
            <a:ext cx="896938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fld id="{932CC28C-1778-4286-8A26-7A174BD38EF3}" type="datetime'+''''''''''''''''41''''''%'''''''">
              <a:rPr lang="en-US" altLang="en-US" sz="1400" b="1" smtClean="0">
                <a:effectLst/>
              </a:rPr>
              <a:pPr algn="ctr">
                <a:lnSpc>
                  <a:spcPct val="90000"/>
                </a:lnSpc>
              </a:pPr>
              <a:t>+41%</a:t>
            </a:fld>
            <a:endParaRPr kumimoji="0" lang="da-DK" sz="1400" b="1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7" name="Tekstboks 14347">
            <a:extLst>
              <a:ext uri="{FF2B5EF4-FFF2-40B4-BE49-F238E27FC236}">
                <a16:creationId xmlns:a16="http://schemas.microsoft.com/office/drawing/2014/main" id="{2D4D1941-805F-66A9-3F7C-2B26CC8CBB98}"/>
              </a:ext>
            </a:extLst>
          </p:cNvPr>
          <p:cNvSpPr txBox="1"/>
          <p:nvPr/>
        </p:nvSpPr>
        <p:spPr>
          <a:xfrm>
            <a:off x="927100" y="1730375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48" name="Tekstboks 114">
            <a:extLst>
              <a:ext uri="{FF2B5EF4-FFF2-40B4-BE49-F238E27FC236}">
                <a16:creationId xmlns:a16="http://schemas.microsoft.com/office/drawing/2014/main" id="{4080FE50-6025-A523-461C-FC75476D79F4}"/>
              </a:ext>
            </a:extLst>
          </p:cNvPr>
          <p:cNvSpPr txBox="1"/>
          <p:nvPr/>
        </p:nvSpPr>
        <p:spPr>
          <a:xfrm>
            <a:off x="796925" y="6000750"/>
            <a:ext cx="284431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51" name="Rektangel 97">
            <a:extLst>
              <a:ext uri="{FF2B5EF4-FFF2-40B4-BE49-F238E27FC236}">
                <a16:creationId xmlns:a16="http://schemas.microsoft.com/office/drawing/2014/main" id="{74EFEEE9-62BD-D612-CA5C-BFBB5CB08DF3}"/>
              </a:ext>
            </a:extLst>
          </p:cNvPr>
          <p:cNvSpPr/>
          <p:nvPr/>
        </p:nvSpPr>
        <p:spPr bwMode="auto">
          <a:xfrm>
            <a:off x="8848725" y="1292224"/>
            <a:ext cx="3115064" cy="465134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4800" baseline="0" dirty="0"/>
              <a:t>Business Case Light</a:t>
            </a:r>
          </a:p>
        </p:txBody>
      </p:sp>
      <p:graphicFrame>
        <p:nvGraphicFramePr>
          <p:cNvPr id="53" name="NPV Table">
            <a:extLst>
              <a:ext uri="{FF2B5EF4-FFF2-40B4-BE49-F238E27FC236}">
                <a16:creationId xmlns:a16="http://schemas.microsoft.com/office/drawing/2014/main" id="{478F024B-1591-4ED0-8D65-DD3517CF7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414691"/>
              </p:ext>
            </p:extLst>
          </p:nvPr>
        </p:nvGraphicFramePr>
        <p:xfrm>
          <a:off x="4889500" y="1727200"/>
          <a:ext cx="3556000" cy="2311400"/>
        </p:xfrm>
        <a:graphic>
          <a:graphicData uri="http://schemas.openxmlformats.org/drawingml/2006/table">
            <a:tbl>
              <a:tblPr/>
              <a:tblGrid>
                <a:gridCol w="1422400">
                  <a:extLst>
                    <a:ext uri="{9D8B030D-6E8A-4147-A177-3AD203B41FA5}">
                      <a16:colId xmlns:a16="http://schemas.microsoft.com/office/drawing/2014/main" val="3118289256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862594108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3247219884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73102405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/>
                      <a:endParaRPr lang="da-DK" sz="1000" b="1">
                        <a:solidFill>
                          <a:srgbClr val="243F5F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rgbClr val="243F5F"/>
                          </a:solidFill>
                          <a:latin typeface="Calibri"/>
                          <a:ea typeface="Calibri"/>
                          <a:cs typeface="Calibri"/>
                        </a:rPr>
                        <a:t>20XX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rgbClr val="243F5F"/>
                          </a:solidFill>
                          <a:latin typeface="Calibri"/>
                          <a:ea typeface="Calibri"/>
                          <a:cs typeface="Calibri"/>
                        </a:rPr>
                        <a:t>20XX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rgbClr val="243F5F"/>
                          </a:solidFill>
                          <a:latin typeface="Calibri"/>
                          <a:ea typeface="Calibri"/>
                          <a:cs typeface="Calibri"/>
                        </a:rPr>
                        <a:t>20XX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55025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msæt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52232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PEX, besparelse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600654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FTE påvirk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75712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Øvrige OPEX besparelse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14101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PEX, omkost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409576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FTE påvirk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65149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Øvrige OPEX omkostninge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707252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EBITDA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010671"/>
                  </a:ext>
                </a:extLst>
              </a:tr>
              <a:tr h="50800">
                <a:tc>
                  <a:txBody>
                    <a:bodyPr/>
                    <a:lstStyle/>
                    <a:p>
                      <a:pPr algn="l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776390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NPV, 3 å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5.959.07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07477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NPV, 5 å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9.350.279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0147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86170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D71613D-9829-412F-3EA1-70F43DDF14B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446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71613D-9829-412F-3EA1-70F43DDF1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917142-6088-9FF5-0E01-94170393B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[ KPI definition – skriv navn som overskrift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A58713-F90A-FF4C-6D7D-241D1400A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4</a:t>
            </a:fld>
            <a:endParaRPr lang="da-DK" dirty="0"/>
          </a:p>
        </p:txBody>
      </p:sp>
      <p:graphicFrame>
        <p:nvGraphicFramePr>
          <p:cNvPr id="5" name="Tabel 5">
            <a:extLst>
              <a:ext uri="{FF2B5EF4-FFF2-40B4-BE49-F238E27FC236}">
                <a16:creationId xmlns:a16="http://schemas.microsoft.com/office/drawing/2014/main" id="{E48AECBB-6BB8-7C4A-1A99-926EF2A70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803282"/>
              </p:ext>
            </p:extLst>
          </p:nvPr>
        </p:nvGraphicFramePr>
        <p:xfrm>
          <a:off x="1477886" y="1484784"/>
          <a:ext cx="8984878" cy="39471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194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90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8323">
                <a:tc>
                  <a:txBody>
                    <a:bodyPr/>
                    <a:lstStyle/>
                    <a:p>
                      <a:r>
                        <a:rPr lang="da-DK" sz="1200" dirty="0"/>
                        <a:t>KPI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[ Giv </a:t>
                      </a:r>
                      <a:r>
                        <a:rPr lang="da-DK" sz="1200" b="1" kern="1200" dirty="0" err="1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PI’en</a:t>
                      </a:r>
                      <a:r>
                        <a:rPr lang="da-DK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et navn ]</a:t>
                      </a:r>
                      <a:endParaRPr lang="da-DK" sz="1200" b="1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Definition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Beskriv</a:t>
                      </a:r>
                      <a:r>
                        <a:rPr lang="da-DK" sz="1200" baseline="0" dirty="0"/>
                        <a:t> præcist hvad </a:t>
                      </a:r>
                      <a:r>
                        <a:rPr lang="da-DK" sz="1200" baseline="0" dirty="0" err="1"/>
                        <a:t>KPI’en</a:t>
                      </a:r>
                      <a:r>
                        <a:rPr lang="da-DK" sz="1200" baseline="0" dirty="0"/>
                        <a:t> viser, hvordan den beregnes, eventuelle usikkerheder samt hvordan den måles ]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Måles pr.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Beskriv frekvensen på hvornår det måles ]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Måles</a:t>
                      </a:r>
                      <a:r>
                        <a:rPr lang="da-DK" sz="1200" baseline="0" dirty="0"/>
                        <a:t> af.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Navn samt</a:t>
                      </a:r>
                      <a:r>
                        <a:rPr lang="da-DK" sz="1200" baseline="0" dirty="0"/>
                        <a:t> fuld afdelingsnavn inkl. hierarki </a:t>
                      </a:r>
                      <a:r>
                        <a:rPr lang="da-DK" sz="1200" baseline="0" dirty="0" err="1"/>
                        <a:t>ala</a:t>
                      </a:r>
                      <a:r>
                        <a:rPr lang="da-DK" sz="1200" baseline="0" dirty="0"/>
                        <a:t> [ afdeling ] ]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Baseline</a:t>
                      </a:r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Lav en graf (søjler eller linje) der viser den historiske udvikling (baseline) samt de satte </a:t>
                      </a:r>
                      <a:r>
                        <a:rPr lang="da-DK" sz="1200" dirty="0" err="1"/>
                        <a:t>targets</a:t>
                      </a:r>
                      <a:r>
                        <a:rPr lang="da-DK" sz="1200" dirty="0"/>
                        <a:t> – husk at historik</a:t>
                      </a:r>
                      <a:r>
                        <a:rPr lang="da-DK" sz="1200" baseline="0" dirty="0"/>
                        <a:t> og </a:t>
                      </a:r>
                      <a:r>
                        <a:rPr lang="da-DK" sz="1200" baseline="0" dirty="0" err="1"/>
                        <a:t>target</a:t>
                      </a:r>
                      <a:r>
                        <a:rPr lang="da-DK" sz="1200" baseline="0" dirty="0"/>
                        <a:t> skal være forskellige farver ]</a:t>
                      </a:r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Targets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Angiv</a:t>
                      </a:r>
                      <a:r>
                        <a:rPr lang="da-DK" sz="1200" baseline="0" dirty="0"/>
                        <a:t> fire </a:t>
                      </a:r>
                      <a:r>
                        <a:rPr lang="da-DK" sz="1200" baseline="0" dirty="0" err="1"/>
                        <a:t>targets</a:t>
                      </a:r>
                      <a:r>
                        <a:rPr lang="da-DK" sz="1200" baseline="0" dirty="0"/>
                        <a:t> (eks. kvartaler) i tekst for at undgå misforståelser ud fra grafen ]</a:t>
                      </a:r>
                      <a:endParaRPr lang="da-DK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7767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6E16D-4908-0263-C723-4537F5B06F4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75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6E16D-4908-0263-C723-4537F5B0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204E95-2A40-186A-74D7-5EC5B067F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Interessen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05178C-99E2-D583-FC4C-CB6CA9370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5</a:t>
            </a:fld>
            <a:endParaRPr lang="da-DK" dirty="0"/>
          </a:p>
        </p:txBody>
      </p:sp>
      <p:graphicFrame>
        <p:nvGraphicFramePr>
          <p:cNvPr id="5" name="Tabel 5">
            <a:extLst>
              <a:ext uri="{FF2B5EF4-FFF2-40B4-BE49-F238E27FC236}">
                <a16:creationId xmlns:a16="http://schemas.microsoft.com/office/drawing/2014/main" id="{D042EDA9-2251-EDAD-5FEA-E60B2379BB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111244"/>
              </p:ext>
            </p:extLst>
          </p:nvPr>
        </p:nvGraphicFramePr>
        <p:xfrm>
          <a:off x="1523372" y="1628800"/>
          <a:ext cx="9723600" cy="3913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1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9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052">
                <a:tc gridSpan="5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Overblik over vigtigste</a:t>
                      </a:r>
                      <a:r>
                        <a:rPr lang="da-DK" sz="800" b="1" baseline="0" dirty="0"/>
                        <a:t> interessenter for projektet</a:t>
                      </a:r>
                      <a:endParaRPr lang="da-DK" sz="800" b="1" dirty="0"/>
                    </a:p>
                  </a:txBody>
                  <a:tcPr marL="0" marR="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b="1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800" b="1" dirty="0"/>
                    </a:p>
                  </a:txBody>
                  <a:tcP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724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Top 10-15 vigtigste interessenter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Enhe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Begrundels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Angiv hvorfor denne interessent er vigtig på en positiv måde]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92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700" dirty="0"/>
                        <a:t>Noter: [ Indsæt not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89572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C59D4-A9F6-80F0-B4FF-58A8102F84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53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C59D4-A9F6-80F0-B4FF-58A8102F8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1CD72-6A10-B94E-A9E2-24773545E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Projektidé: [ Navn på idé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E28F26-EF56-7FDA-B160-DD5E3E110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6</a:t>
            </a:fld>
            <a:endParaRPr lang="da-DK" dirty="0"/>
          </a:p>
        </p:txBody>
      </p:sp>
      <p:graphicFrame>
        <p:nvGraphicFramePr>
          <p:cNvPr id="5" name="Tabel 2">
            <a:extLst>
              <a:ext uri="{FF2B5EF4-FFF2-40B4-BE49-F238E27FC236}">
                <a16:creationId xmlns:a16="http://schemas.microsoft.com/office/drawing/2014/main" id="{C6FB3752-1ED7-671C-8425-5B24E51D2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774770"/>
              </p:ext>
            </p:extLst>
          </p:nvPr>
        </p:nvGraphicFramePr>
        <p:xfrm>
          <a:off x="1363482" y="1675686"/>
          <a:ext cx="8880702" cy="3583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38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6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09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096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16024">
                <a:tc rowSpan="4">
                  <a:txBody>
                    <a:bodyPr/>
                    <a:lstStyle/>
                    <a:p>
                      <a:pPr algn="ctr"/>
                      <a:r>
                        <a:rPr lang="da-DK" sz="1000" b="0" dirty="0"/>
                        <a:t>Formål</a:t>
                      </a:r>
                    </a:p>
                  </a:txBody>
                  <a:tcPr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Baggrund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1000" b="1" dirty="0"/>
                        <a:t>Målsætninger for projekte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Beskriv kort den aktuelle situation ]</a:t>
                      </a:r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 gridSpan="4">
                  <a:txBody>
                    <a:bodyPr/>
                    <a:lstStyle/>
                    <a:p>
                      <a:r>
                        <a:rPr lang="da-DK" sz="1000" dirty="0"/>
                        <a:t>[ Beskriv hvad der konkret skal leveres af projektet. Hvad er succeskriterierne? ]</a:t>
                      </a:r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/>
                        <a:t>Hvad skal ændres?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Beskriv konkret hvad der skal ændres</a:t>
                      </a:r>
                      <a:r>
                        <a:rPr lang="da-DK" sz="1000" baseline="0" dirty="0"/>
                        <a:t> som følge af projektets leverancer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200">
                <a:tc>
                  <a:txBody>
                    <a:bodyPr/>
                    <a:lstStyle/>
                    <a:p>
                      <a:endParaRPr lang="da-DK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algn="ctr"/>
                      <a:r>
                        <a:rPr lang="da-DK" sz="1000" b="0" dirty="0"/>
                        <a:t>Forventet </a:t>
                      </a:r>
                      <a:br>
                        <a:rPr lang="da-DK" sz="1000" b="0" dirty="0"/>
                      </a:br>
                      <a:r>
                        <a:rPr lang="da-DK" sz="1000" b="0" dirty="0"/>
                        <a:t>effekt</a:t>
                      </a:r>
                    </a:p>
                  </a:txBody>
                  <a:tcPr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Forretningsværdi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1000" b="1" dirty="0"/>
                        <a:t>Effektscores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da-DK" sz="1000" dirty="0"/>
                        <a:t>[ Beskriv den forventede værdi for [ virksomhed ].</a:t>
                      </a:r>
                      <a:r>
                        <a:rPr lang="da-DK" sz="1000" baseline="0" dirty="0"/>
                        <a:t> Både den direkte og indirekte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CSAT</a:t>
                      </a:r>
                    </a:p>
                  </a:txBody>
                  <a:tcPr marL="0" marR="90000" marT="46800" marB="46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Tværgåend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 err="1"/>
                        <a:t>Cost</a:t>
                      </a:r>
                      <a:endParaRPr lang="da-DK" sz="1000" dirty="0"/>
                    </a:p>
                  </a:txBody>
                  <a:tcPr marL="0" marR="90000" marT="46800" marB="46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NPV&gt;5 </a:t>
                      </a:r>
                      <a:r>
                        <a:rPr lang="da-DK" sz="1000" dirty="0" err="1"/>
                        <a:t>DKKm</a:t>
                      </a:r>
                      <a:endParaRPr lang="da-DK" sz="1000" dirty="0"/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Strategi</a:t>
                      </a:r>
                    </a:p>
                  </a:txBody>
                  <a:tcPr marL="0" marR="90000" marT="46800" marB="46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ESAT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7200">
                <a:tc>
                  <a:txBody>
                    <a:bodyPr/>
                    <a:lstStyle/>
                    <a:p>
                      <a:endParaRPr lang="da-DK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7824">
                <a:tc rowSpan="4">
                  <a:txBody>
                    <a:bodyPr/>
                    <a:lstStyle/>
                    <a:p>
                      <a:pPr algn="ctr"/>
                      <a:r>
                        <a:rPr lang="da-DK" sz="1000" b="0" dirty="0"/>
                        <a:t>Stamdata</a:t>
                      </a:r>
                    </a:p>
                  </a:txBody>
                  <a:tcPr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Sponso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1000" b="1" dirty="0"/>
                        <a:t>Dato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Sponsor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Indmelding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da-DK" sz="1000" dirty="0"/>
                        <a:t>[ dato ]</a:t>
                      </a:r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Proces-ej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Igangsætning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da-DK" sz="1000" dirty="0"/>
                        <a:t>[</a:t>
                      </a:r>
                      <a:r>
                        <a:rPr lang="da-DK" sz="1000" baseline="0" dirty="0"/>
                        <a:t> ikke relevant / dato ]</a:t>
                      </a:r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proces og proces-ejer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Afvisning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da-DK" sz="1000" dirty="0"/>
                        <a:t>[</a:t>
                      </a:r>
                      <a:r>
                        <a:rPr lang="da-DK" sz="1000" baseline="0" dirty="0"/>
                        <a:t> ikke relevant / dato ]</a:t>
                      </a:r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17C8D63A-A5E5-9227-CC89-07D2BD4F8A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</a:blip>
          <a:srcRect l="17163" r="19987"/>
          <a:stretch/>
        </p:blipFill>
        <p:spPr bwMode="auto">
          <a:xfrm>
            <a:off x="6326986" y="3873182"/>
            <a:ext cx="321489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id="{8F4AF681-1710-736F-91E8-829E95F25F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grayscl/>
          </a:blip>
          <a:srcRect l="17885" r="17885"/>
          <a:stretch/>
        </p:blipFill>
        <p:spPr bwMode="auto">
          <a:xfrm>
            <a:off x="8438806" y="3150992"/>
            <a:ext cx="321489" cy="24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>
            <a:extLst>
              <a:ext uri="{FF2B5EF4-FFF2-40B4-BE49-F238E27FC236}">
                <a16:creationId xmlns:a16="http://schemas.microsoft.com/office/drawing/2014/main" id="{4CD2A4E3-50FC-E3D2-2812-2461930322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grayscl/>
          </a:blip>
          <a:srcRect l="17540" r="18230"/>
          <a:stretch/>
        </p:blipFill>
        <p:spPr bwMode="auto">
          <a:xfrm>
            <a:off x="6326986" y="3512087"/>
            <a:ext cx="321489" cy="24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3">
            <a:extLst>
              <a:ext uri="{FF2B5EF4-FFF2-40B4-BE49-F238E27FC236}">
                <a16:creationId xmlns:a16="http://schemas.microsoft.com/office/drawing/2014/main" id="{97E0DEC7-1758-2662-CC81-45359F583A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9" r="18229"/>
          <a:stretch/>
        </p:blipFill>
        <p:spPr bwMode="auto">
          <a:xfrm>
            <a:off x="6326986" y="3150992"/>
            <a:ext cx="321489" cy="24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>
            <a:extLst>
              <a:ext uri="{FF2B5EF4-FFF2-40B4-BE49-F238E27FC236}">
                <a16:creationId xmlns:a16="http://schemas.microsoft.com/office/drawing/2014/main" id="{1D3B0723-F25A-414D-EF84-B9FCE86D4F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</a:blip>
          <a:srcRect l="17163" r="19987"/>
          <a:stretch/>
        </p:blipFill>
        <p:spPr bwMode="auto">
          <a:xfrm>
            <a:off x="8438806" y="3508717"/>
            <a:ext cx="321489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E42004C4-C893-74C0-5AE7-ED90E18C05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</a:blip>
          <a:srcRect l="17163" r="19987"/>
          <a:stretch/>
        </p:blipFill>
        <p:spPr bwMode="auto">
          <a:xfrm>
            <a:off x="8438806" y="3873182"/>
            <a:ext cx="321489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4762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C1D0C-9889-4426-B1A5-D1525434E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is Template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FAA4B4-4D9C-4071-B2D3-C4C4D38163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document is a project scoping template from StruktureretSundFornuft.dk, used to define and align a new project before kickoff.</a:t>
            </a:r>
          </a:p>
          <a:p>
            <a:r>
              <a:rPr lang="en-US" dirty="0"/>
              <a:t>It covers nine areas — Purpose, Project Tracks &amp; Key Deliverables, Milestones, Resources, KPIs, Risks, Organization, and Planned Reporting &amp; Communication — plus a supporting Appendix. Use what makes sense in your specific use cas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CDBF-5222-474E-ABC9-94EF8ACF4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1383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C04764-C227-690A-5265-762155F682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433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C04764-C227-690A-5265-762155F68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748DAAA-173D-BD33-DD92-23B299DCB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INDHOL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E026C-F03F-38D1-B2D5-20A8F5DD64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3</a:t>
            </a:fld>
            <a:endParaRPr lang="da-DK" dirty="0"/>
          </a:p>
        </p:txBody>
      </p:sp>
      <p:graphicFrame>
        <p:nvGraphicFramePr>
          <p:cNvPr id="2" name="Content Placeholder 2">
            <a:extLst>
              <a:ext uri="{FF2B5EF4-FFF2-40B4-BE49-F238E27FC236}">
                <a16:creationId xmlns:a16="http://schemas.microsoft.com/office/drawing/2014/main" id="{033B06A4-8B55-F44A-84E4-8CCF12D6E0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1169190"/>
              </p:ext>
            </p:extLst>
          </p:nvPr>
        </p:nvGraphicFramePr>
        <p:xfrm>
          <a:off x="1389077" y="1556792"/>
          <a:ext cx="8391600" cy="3900456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5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Formål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Projektspor og væsentlige leverancer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Milepæl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Ressourcer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 err="1"/>
                        <a:t>KPI’er</a:t>
                      </a:r>
                      <a:endParaRPr lang="da-DK" dirty="0"/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Risici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Organisering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Planlagt rapportering og kommunikation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000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Bilag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360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2589C26-A54E-4C24-3753-D41C897A393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33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89C26-A54E-4C24-3753-D41C897A3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7DEA41-D0FA-9209-956D-C767A8331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1. Formål for [ Projektnavn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52B84A-269E-1FDB-7648-AB1EFAA5EB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4" name="Rectangle 18">
            <a:extLst>
              <a:ext uri="{FF2B5EF4-FFF2-40B4-BE49-F238E27FC236}">
                <a16:creationId xmlns:a16="http://schemas.microsoft.com/office/drawing/2014/main" id="{EC8ED3DB-9420-C034-F518-7D00E21896E6}"/>
              </a:ext>
            </a:extLst>
          </p:cNvPr>
          <p:cNvSpPr/>
          <p:nvPr/>
        </p:nvSpPr>
        <p:spPr bwMode="auto">
          <a:xfrm>
            <a:off x="3488055" y="2149009"/>
            <a:ext cx="6960394" cy="8763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5" name="Pentagon 7">
            <a:extLst>
              <a:ext uri="{FF2B5EF4-FFF2-40B4-BE49-F238E27FC236}">
                <a16:creationId xmlns:a16="http://schemas.microsoft.com/office/drawing/2014/main" id="{BDAC000D-F280-BCEB-074F-ECBE1C8BD70C}"/>
              </a:ext>
            </a:extLst>
          </p:cNvPr>
          <p:cNvSpPr/>
          <p:nvPr/>
        </p:nvSpPr>
        <p:spPr bwMode="auto">
          <a:xfrm>
            <a:off x="1395042" y="2123609"/>
            <a:ext cx="2057769" cy="876300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164D1AE1-2355-A385-AF3F-DC74C4D6C7B1}"/>
              </a:ext>
            </a:extLst>
          </p:cNvPr>
          <p:cNvSpPr/>
          <p:nvPr/>
        </p:nvSpPr>
        <p:spPr bwMode="auto">
          <a:xfrm>
            <a:off x="3488055" y="3141196"/>
            <a:ext cx="6960394" cy="112712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7" name="Pentagon 9">
            <a:extLst>
              <a:ext uri="{FF2B5EF4-FFF2-40B4-BE49-F238E27FC236}">
                <a16:creationId xmlns:a16="http://schemas.microsoft.com/office/drawing/2014/main" id="{CE2B2EA0-AF32-F64F-E507-1E3952E7EABC}"/>
              </a:ext>
            </a:extLst>
          </p:cNvPr>
          <p:cNvSpPr/>
          <p:nvPr/>
        </p:nvSpPr>
        <p:spPr bwMode="auto">
          <a:xfrm>
            <a:off x="1395042" y="3171359"/>
            <a:ext cx="2057769" cy="1127125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8" name="Rectangle 28">
            <a:extLst>
              <a:ext uri="{FF2B5EF4-FFF2-40B4-BE49-F238E27FC236}">
                <a16:creationId xmlns:a16="http://schemas.microsoft.com/office/drawing/2014/main" id="{9CDDEF4F-7F08-E733-46A3-0B401F6B16EB}"/>
              </a:ext>
            </a:extLst>
          </p:cNvPr>
          <p:cNvSpPr/>
          <p:nvPr/>
        </p:nvSpPr>
        <p:spPr bwMode="auto">
          <a:xfrm>
            <a:off x="3488055" y="4450884"/>
            <a:ext cx="6960394" cy="116522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9" name="Pentagon 11">
            <a:extLst>
              <a:ext uri="{FF2B5EF4-FFF2-40B4-BE49-F238E27FC236}">
                <a16:creationId xmlns:a16="http://schemas.microsoft.com/office/drawing/2014/main" id="{BFC1D1DD-FB87-BFCF-1EB6-3D2C3F8BD7B9}"/>
              </a:ext>
            </a:extLst>
          </p:cNvPr>
          <p:cNvSpPr/>
          <p:nvPr/>
        </p:nvSpPr>
        <p:spPr bwMode="auto">
          <a:xfrm>
            <a:off x="1395042" y="4460409"/>
            <a:ext cx="2057769" cy="1166812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0" name="Tekstboks 12">
            <a:extLst>
              <a:ext uri="{FF2B5EF4-FFF2-40B4-BE49-F238E27FC236}">
                <a16:creationId xmlns:a16="http://schemas.microsoft.com/office/drawing/2014/main" id="{9C38B6F1-708A-F00E-9E83-E6A0F9E5D8AD}"/>
              </a:ext>
            </a:extLst>
          </p:cNvPr>
          <p:cNvSpPr txBox="1"/>
          <p:nvPr/>
        </p:nvSpPr>
        <p:spPr>
          <a:xfrm>
            <a:off x="3544835" y="2161709"/>
            <a:ext cx="6919277" cy="6463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176213" indent="-176213" defTabSz="652463">
              <a:buFont typeface="Wingdings" pitchFamily="2" charset="2"/>
              <a:buChar char="§"/>
              <a:defRPr/>
            </a:pPr>
            <a:r>
              <a:rPr lang="da-DK" sz="1200" dirty="0">
                <a:solidFill>
                  <a:srgbClr val="000000"/>
                </a:solidFill>
              </a:rPr>
              <a:t>[ Angiv formålet for projektet. Gerne i form af nyttemålet for klart at tydeliggøre den hypotese som Sponsoren har. Formuler det dog IKKE som en hypotese men som tekst eventuelt med tal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" name="Tekstboks 15">
            <a:extLst>
              <a:ext uri="{FF2B5EF4-FFF2-40B4-BE49-F238E27FC236}">
                <a16:creationId xmlns:a16="http://schemas.microsoft.com/office/drawing/2014/main" id="{7AFA8286-8460-8A2B-8320-26353F03B09A}"/>
              </a:ext>
            </a:extLst>
          </p:cNvPr>
          <p:cNvSpPr txBox="1"/>
          <p:nvPr/>
        </p:nvSpPr>
        <p:spPr>
          <a:xfrm>
            <a:off x="1506643" y="2195046"/>
            <a:ext cx="192854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Formål:</a:t>
            </a:r>
          </a:p>
        </p:txBody>
      </p:sp>
      <p:sp>
        <p:nvSpPr>
          <p:cNvPr id="12" name="Tekstboks 19">
            <a:extLst>
              <a:ext uri="{FF2B5EF4-FFF2-40B4-BE49-F238E27FC236}">
                <a16:creationId xmlns:a16="http://schemas.microsoft.com/office/drawing/2014/main" id="{D952A074-9681-D825-739B-BB784BC99363}"/>
              </a:ext>
            </a:extLst>
          </p:cNvPr>
          <p:cNvSpPr txBox="1"/>
          <p:nvPr/>
        </p:nvSpPr>
        <p:spPr>
          <a:xfrm>
            <a:off x="3544835" y="3147546"/>
            <a:ext cx="6985846" cy="6463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90488" indent="-90488" defTabSz="652463">
              <a:buFont typeface="Arial" pitchFamily="34" charset="0"/>
              <a:buChar char="•"/>
              <a:defRPr/>
            </a:pPr>
            <a:r>
              <a:rPr lang="da-DK" sz="1200" dirty="0">
                <a:solidFill>
                  <a:srgbClr val="000000"/>
                </a:solidFill>
              </a:rPr>
              <a:t>[ Beskriv de konkrete målsætninger for projektet. Hvis det ikke kan kvantificeres, så beskriv hvad der er anderledes når projektet er færdigt ]</a:t>
            </a:r>
          </a:p>
        </p:txBody>
      </p:sp>
      <p:sp>
        <p:nvSpPr>
          <p:cNvPr id="13" name="Tekstboks 15">
            <a:extLst>
              <a:ext uri="{FF2B5EF4-FFF2-40B4-BE49-F238E27FC236}">
                <a16:creationId xmlns:a16="http://schemas.microsoft.com/office/drawing/2014/main" id="{E2DA2A4E-18B2-0E69-413F-61390A488B03}"/>
              </a:ext>
            </a:extLst>
          </p:cNvPr>
          <p:cNvSpPr txBox="1"/>
          <p:nvPr/>
        </p:nvSpPr>
        <p:spPr>
          <a:xfrm>
            <a:off x="1506643" y="3242796"/>
            <a:ext cx="1932464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Succeskriterier:</a:t>
            </a:r>
          </a:p>
        </p:txBody>
      </p:sp>
      <p:sp>
        <p:nvSpPr>
          <p:cNvPr id="14" name="Tekstboks 19">
            <a:extLst>
              <a:ext uri="{FF2B5EF4-FFF2-40B4-BE49-F238E27FC236}">
                <a16:creationId xmlns:a16="http://schemas.microsoft.com/office/drawing/2014/main" id="{B6FC2705-5B0D-8427-42AF-876112C31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0498" y="4511209"/>
            <a:ext cx="688011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90488" indent="-90488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Font typeface="Arial" pitchFamily="34" charset="0"/>
              <a:buChar char="•"/>
              <a:defRPr/>
            </a:pPr>
            <a:r>
              <a:rPr lang="da-DK" sz="1200" dirty="0">
                <a:solidFill>
                  <a:srgbClr val="000000"/>
                </a:solidFill>
                <a:latin typeface="Verdana" pitchFamily="34" charset="0"/>
              </a:rPr>
              <a:t>[ Beskriv kort hvilke løftestænger projektet vil bruge til at indfri målsætningen og formålet. Det kan være de enkelte projektspor, kritiske milepæle eller noget helt tredje ]</a:t>
            </a:r>
          </a:p>
        </p:txBody>
      </p:sp>
      <p:sp>
        <p:nvSpPr>
          <p:cNvPr id="15" name="Tekstboks 15">
            <a:extLst>
              <a:ext uri="{FF2B5EF4-FFF2-40B4-BE49-F238E27FC236}">
                <a16:creationId xmlns:a16="http://schemas.microsoft.com/office/drawing/2014/main" id="{764B9D76-DEF8-82DE-EA5B-641698C982C2}"/>
              </a:ext>
            </a:extLst>
          </p:cNvPr>
          <p:cNvSpPr txBox="1"/>
          <p:nvPr/>
        </p:nvSpPr>
        <p:spPr>
          <a:xfrm>
            <a:off x="1506643" y="4547101"/>
            <a:ext cx="1899179" cy="27781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Beskrivelse:</a:t>
            </a:r>
          </a:p>
        </p:txBody>
      </p:sp>
      <p:sp>
        <p:nvSpPr>
          <p:cNvPr id="16" name="Rounded Rectangle 57">
            <a:extLst>
              <a:ext uri="{FF2B5EF4-FFF2-40B4-BE49-F238E27FC236}">
                <a16:creationId xmlns:a16="http://schemas.microsoft.com/office/drawing/2014/main" id="{2BD2604D-B846-F86E-04B7-F85E4D45C368}"/>
              </a:ext>
            </a:extLst>
          </p:cNvPr>
          <p:cNvSpPr/>
          <p:nvPr/>
        </p:nvSpPr>
        <p:spPr bwMode="auto">
          <a:xfrm>
            <a:off x="1395042" y="1412776"/>
            <a:ext cx="9118017" cy="605979"/>
          </a:xfrm>
          <a:prstGeom prst="roundRect">
            <a:avLst>
              <a:gd name="adj" fmla="val 7658"/>
            </a:avLst>
          </a:prstGeom>
          <a:solidFill>
            <a:srgbClr val="0070C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endParaRPr lang="da-DK" sz="12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B1992D2E-B202-52D6-90BE-90CCE57CC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8133" y="1404412"/>
            <a:ext cx="452930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rgbClr val="FFFFFF"/>
                </a:solidFill>
                <a:latin typeface="Verdana"/>
              </a:rPr>
              <a:t>Styregruppe:</a:t>
            </a:r>
          </a:p>
          <a:p>
            <a:pPr>
              <a:defRPr/>
            </a:pPr>
            <a:r>
              <a:rPr lang="da-DK" sz="1000" dirty="0">
                <a:solidFill>
                  <a:srgbClr val="FFFFFF"/>
                </a:solidFill>
                <a:latin typeface="Verdana"/>
              </a:rPr>
              <a:t>[ Indsæt TOP3 navne  adskilt af ,]</a:t>
            </a:r>
          </a:p>
        </p:txBody>
      </p:sp>
      <p:sp>
        <p:nvSpPr>
          <p:cNvPr id="18" name="Rectangle 60">
            <a:extLst>
              <a:ext uri="{FF2B5EF4-FFF2-40B4-BE49-F238E27FC236}">
                <a16:creationId xmlns:a16="http://schemas.microsoft.com/office/drawing/2014/main" id="{9A02EC19-96A8-4F27-5C17-4873D6F14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4077" y="1413937"/>
            <a:ext cx="212660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rgbClr val="FFFFFF"/>
                </a:solidFill>
                <a:latin typeface="Verdana"/>
              </a:rPr>
              <a:t>Projektleder:</a:t>
            </a:r>
          </a:p>
          <a:p>
            <a:pPr>
              <a:defRPr/>
            </a:pPr>
            <a:r>
              <a:rPr lang="da-DK" sz="1000" dirty="0">
                <a:solidFill>
                  <a:srgbClr val="FFFFFF"/>
                </a:solidFill>
                <a:latin typeface="Verdana"/>
              </a:rPr>
              <a:t>[ Indsæt navn ]</a:t>
            </a:r>
          </a:p>
        </p:txBody>
      </p:sp>
      <p:sp>
        <p:nvSpPr>
          <p:cNvPr id="19" name="Rectangle 61">
            <a:extLst>
              <a:ext uri="{FF2B5EF4-FFF2-40B4-BE49-F238E27FC236}">
                <a16:creationId xmlns:a16="http://schemas.microsoft.com/office/drawing/2014/main" id="{90B97990-F803-1801-7D14-16B232C162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0793" y="1404412"/>
            <a:ext cx="220853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rgbClr val="FFFFFF"/>
                </a:solidFill>
                <a:latin typeface="Verdana"/>
              </a:rPr>
              <a:t>Sponsor</a:t>
            </a:r>
            <a:r>
              <a:rPr lang="da-DK" sz="1200" dirty="0">
                <a:solidFill>
                  <a:srgbClr val="FFFFFF"/>
                </a:solidFill>
                <a:latin typeface="Verdana"/>
              </a:rPr>
              <a:t>:</a:t>
            </a:r>
          </a:p>
          <a:p>
            <a:pPr>
              <a:defRPr/>
            </a:pPr>
            <a:r>
              <a:rPr lang="da-DK" sz="1000" dirty="0">
                <a:solidFill>
                  <a:srgbClr val="FFFFFF"/>
                </a:solidFill>
                <a:latin typeface="Verdana"/>
              </a:rPr>
              <a:t>[ indsæt navn ]</a:t>
            </a:r>
          </a:p>
        </p:txBody>
      </p:sp>
      <p:sp>
        <p:nvSpPr>
          <p:cNvPr id="20" name="Rectangle 28">
            <a:extLst>
              <a:ext uri="{FF2B5EF4-FFF2-40B4-BE49-F238E27FC236}">
                <a16:creationId xmlns:a16="http://schemas.microsoft.com/office/drawing/2014/main" id="{16B1B8C7-7528-9224-D415-6EB2E9113EA4}"/>
              </a:ext>
            </a:extLst>
          </p:cNvPr>
          <p:cNvSpPr/>
          <p:nvPr/>
        </p:nvSpPr>
        <p:spPr bwMode="auto">
          <a:xfrm>
            <a:off x="3488055" y="5747028"/>
            <a:ext cx="6960394" cy="49091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21" name="Pentagon 26">
            <a:extLst>
              <a:ext uri="{FF2B5EF4-FFF2-40B4-BE49-F238E27FC236}">
                <a16:creationId xmlns:a16="http://schemas.microsoft.com/office/drawing/2014/main" id="{B044937E-13C8-3160-BD16-2611F9F0B842}"/>
              </a:ext>
            </a:extLst>
          </p:cNvPr>
          <p:cNvSpPr/>
          <p:nvPr/>
        </p:nvSpPr>
        <p:spPr bwMode="auto">
          <a:xfrm>
            <a:off x="1395042" y="5756552"/>
            <a:ext cx="2057769" cy="480759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22" name="Tekstboks 19">
            <a:extLst>
              <a:ext uri="{FF2B5EF4-FFF2-40B4-BE49-F238E27FC236}">
                <a16:creationId xmlns:a16="http://schemas.microsoft.com/office/drawing/2014/main" id="{CEB9DDF1-1178-B300-931D-C74F2914A6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0498" y="5807353"/>
            <a:ext cx="688011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90488" indent="-90488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Font typeface="Arial" pitchFamily="34" charset="0"/>
              <a:buChar char="•"/>
              <a:defRPr/>
            </a:pPr>
            <a:r>
              <a:rPr lang="da-DK" sz="1200" dirty="0">
                <a:solidFill>
                  <a:srgbClr val="000000"/>
                </a:solidFill>
                <a:latin typeface="Verdana" pitchFamily="34" charset="0"/>
              </a:rPr>
              <a:t>[ Angiv hvornår projektet forventes afsluttet med indfrielse af målene ]</a:t>
            </a:r>
          </a:p>
        </p:txBody>
      </p:sp>
      <p:sp>
        <p:nvSpPr>
          <p:cNvPr id="23" name="Tekstboks 15">
            <a:extLst>
              <a:ext uri="{FF2B5EF4-FFF2-40B4-BE49-F238E27FC236}">
                <a16:creationId xmlns:a16="http://schemas.microsoft.com/office/drawing/2014/main" id="{B5C20073-BB60-8789-79AC-3A1774C67FFB}"/>
              </a:ext>
            </a:extLst>
          </p:cNvPr>
          <p:cNvSpPr txBox="1"/>
          <p:nvPr/>
        </p:nvSpPr>
        <p:spPr>
          <a:xfrm>
            <a:off x="1506643" y="5771237"/>
            <a:ext cx="1899179" cy="27781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Forventet slut:</a:t>
            </a:r>
          </a:p>
        </p:txBody>
      </p:sp>
    </p:spTree>
    <p:extLst>
      <p:ext uri="{BB962C8B-B14F-4D97-AF65-F5344CB8AC3E}">
        <p14:creationId xmlns:p14="http://schemas.microsoft.com/office/powerpoint/2010/main" val="3026754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6A93BD-5E0A-A669-24B4-8618D4F62EB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09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6A93BD-5E0A-A669-24B4-8618D4F6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C4106D-1328-FAA1-214F-9E9E0EA49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2. Projektspor og væsentlige leveranc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128209-7FC5-6AE9-E075-04F4E64369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5</a:t>
            </a:fld>
            <a:endParaRPr lang="da-DK" dirty="0"/>
          </a:p>
        </p:txBody>
      </p:sp>
      <p:graphicFrame>
        <p:nvGraphicFramePr>
          <p:cNvPr id="5" name="Pladsholder til indhold 17">
            <a:extLst>
              <a:ext uri="{FF2B5EF4-FFF2-40B4-BE49-F238E27FC236}">
                <a16:creationId xmlns:a16="http://schemas.microsoft.com/office/drawing/2014/main" id="{909688AF-145E-63E4-A58E-7E9EDA2521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2387294"/>
              </p:ext>
            </p:extLst>
          </p:nvPr>
        </p:nvGraphicFramePr>
        <p:xfrm>
          <a:off x="1132275" y="1645930"/>
          <a:ext cx="9712662" cy="2755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6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0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284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0269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459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88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r>
                        <a:rPr lang="da-DK" sz="1000" b="1" dirty="0"/>
                        <a:t>#</a:t>
                      </a:r>
                    </a:p>
                  </a:txBody>
                  <a:tcPr anchor="b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Projektspor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Slutprodukter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KPI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Ansvarlig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Deadlin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 err="1"/>
                        <a:t>Impact</a:t>
                      </a:r>
                      <a:endParaRPr lang="da-DK" sz="1000" b="1" dirty="0"/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på spor ]</a:t>
                      </a: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Gør dem så konkrete som muligt. Husk de skal støtte op om målsætningen for projektet . Maks 3-4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KPI, IKKE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ransvarlige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Deadline for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poret  - eks. 17/3-XX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på spor ]</a:t>
                      </a: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KPI 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r-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d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Deadline for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poret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på spor ]</a:t>
                      </a: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KPI 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r-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d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Deadline for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poret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dirty="0"/>
                        <a:t>[ navn</a:t>
                      </a:r>
                      <a:r>
                        <a:rPr lang="da-DK" sz="800" baseline="0" dirty="0"/>
                        <a:t> på spor ]</a:t>
                      </a: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KPI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r-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d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Deadline for</a:t>
                      </a:r>
                      <a:r>
                        <a:rPr lang="da-DK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poret ]</a:t>
                      </a: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4000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 gridSpan="13">
                  <a:txBody>
                    <a:bodyPr/>
                    <a:lstStyle/>
                    <a:p>
                      <a:pPr marL="357188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r: [ Indsæt eventuelle noter ]</a:t>
                      </a:r>
                      <a:endParaRPr lang="da-DK" sz="800" dirty="0"/>
                    </a:p>
                  </a:txBody>
                  <a:tcPr marL="36000" marR="3600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D2C3EB92-F94D-6CAA-6B7E-29B6D7B5E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10056962" y="3091373"/>
            <a:ext cx="58933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id="{07C1EF4F-DC4A-9046-E8D8-992DC4D7FC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auto">
          <a:xfrm>
            <a:off x="10056964" y="3579858"/>
            <a:ext cx="589333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>
            <a:extLst>
              <a:ext uri="{FF2B5EF4-FFF2-40B4-BE49-F238E27FC236}">
                <a16:creationId xmlns:a16="http://schemas.microsoft.com/office/drawing/2014/main" id="{5C629FE9-F9DC-ED8E-DB48-CB929297A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</a:blip>
          <a:srcRect/>
          <a:stretch>
            <a:fillRect/>
          </a:stretch>
        </p:blipFill>
        <p:spPr bwMode="auto">
          <a:xfrm>
            <a:off x="10056963" y="2616322"/>
            <a:ext cx="589332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3">
            <a:extLst>
              <a:ext uri="{FF2B5EF4-FFF2-40B4-BE49-F238E27FC236}">
                <a16:creationId xmlns:a16="http://schemas.microsoft.com/office/drawing/2014/main" id="{ACFC959B-0A9D-4846-139F-560382822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964" y="1976946"/>
            <a:ext cx="58933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7751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0E1352-C60E-B750-AF31-900FE69E461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533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0E1352-C60E-B750-AF31-900FE69E4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A50555-7555-48C4-1326-4BA94CD47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3. Milepæ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40BB87-FDD8-34D9-128C-900CA36BE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5" name="Rektangel 9">
            <a:extLst>
              <a:ext uri="{FF2B5EF4-FFF2-40B4-BE49-F238E27FC236}">
                <a16:creationId xmlns:a16="http://schemas.microsoft.com/office/drawing/2014/main" id="{F87B13E8-3324-16AE-EB88-BCBC52C25747}"/>
              </a:ext>
            </a:extLst>
          </p:cNvPr>
          <p:cNvSpPr/>
          <p:nvPr/>
        </p:nvSpPr>
        <p:spPr bwMode="auto">
          <a:xfrm>
            <a:off x="1110826" y="1771015"/>
            <a:ext cx="9398000" cy="28098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6" name="Rektangel 7">
            <a:extLst>
              <a:ext uri="{FF2B5EF4-FFF2-40B4-BE49-F238E27FC236}">
                <a16:creationId xmlns:a16="http://schemas.microsoft.com/office/drawing/2014/main" id="{DBE5176D-8C9E-2ED6-A991-B3B6BBEA36C1}"/>
              </a:ext>
            </a:extLst>
          </p:cNvPr>
          <p:cNvSpPr/>
          <p:nvPr/>
        </p:nvSpPr>
        <p:spPr bwMode="auto">
          <a:xfrm>
            <a:off x="1110826" y="3753803"/>
            <a:ext cx="9398000" cy="28098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675B6F14-2248-238B-F42C-1F6062442500}"/>
              </a:ext>
            </a:extLst>
          </p:cNvPr>
          <p:cNvSpPr/>
          <p:nvPr/>
        </p:nvSpPr>
        <p:spPr bwMode="auto">
          <a:xfrm>
            <a:off x="1110826" y="4576128"/>
            <a:ext cx="9398000" cy="28257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8" name="Rektangel 8">
            <a:extLst>
              <a:ext uri="{FF2B5EF4-FFF2-40B4-BE49-F238E27FC236}">
                <a16:creationId xmlns:a16="http://schemas.microsoft.com/office/drawing/2014/main" id="{02BF476C-7541-02A4-3ABD-98B9A31A4DF0}"/>
              </a:ext>
            </a:extLst>
          </p:cNvPr>
          <p:cNvSpPr/>
          <p:nvPr/>
        </p:nvSpPr>
        <p:spPr bwMode="auto">
          <a:xfrm>
            <a:off x="1110826" y="2929890"/>
            <a:ext cx="9398000" cy="28257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9" name="Rektangel 10">
            <a:extLst>
              <a:ext uri="{FF2B5EF4-FFF2-40B4-BE49-F238E27FC236}">
                <a16:creationId xmlns:a16="http://schemas.microsoft.com/office/drawing/2014/main" id="{5080C661-4D6F-B251-5EC4-9494BEAB70BF}"/>
              </a:ext>
            </a:extLst>
          </p:cNvPr>
          <p:cNvSpPr>
            <a:spLocks/>
          </p:cNvSpPr>
          <p:nvPr/>
        </p:nvSpPr>
        <p:spPr bwMode="auto">
          <a:xfrm>
            <a:off x="4969881" y="1339215"/>
            <a:ext cx="5538946" cy="215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tx1"/>
                </a:solidFill>
              </a:rPr>
              <a:t>20XX</a:t>
            </a:r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ktangel 11">
            <a:extLst>
              <a:ext uri="{FF2B5EF4-FFF2-40B4-BE49-F238E27FC236}">
                <a16:creationId xmlns:a16="http://schemas.microsoft.com/office/drawing/2014/main" id="{8A8534C2-005C-1627-C503-FF7F6B05640C}"/>
              </a:ext>
            </a:extLst>
          </p:cNvPr>
          <p:cNvSpPr>
            <a:spLocks/>
          </p:cNvSpPr>
          <p:nvPr/>
        </p:nvSpPr>
        <p:spPr bwMode="auto">
          <a:xfrm>
            <a:off x="4969881" y="1555115"/>
            <a:ext cx="1366625" cy="215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anchor="ctr"/>
          <a:lstStyle/>
          <a:p>
            <a:pPr algn="ctr">
              <a:defRPr/>
            </a:pPr>
            <a:fld id="{41D16911-C47A-46FB-9E52-1D93C4CECC95}" type="datetime'''''''''''''''''''Q''''''''''''''1'">
              <a:rPr lang="en-US" sz="1100" b="1">
                <a:solidFill>
                  <a:schemeClr val="tx1"/>
                </a:solidFill>
              </a:rPr>
              <a:pPr algn="ctr">
                <a:defRPr/>
              </a:pPr>
              <a:t>Q1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ktangel 12">
            <a:extLst>
              <a:ext uri="{FF2B5EF4-FFF2-40B4-BE49-F238E27FC236}">
                <a16:creationId xmlns:a16="http://schemas.microsoft.com/office/drawing/2014/main" id="{8DDBC2AE-D4CC-7A07-E395-BAA95025284B}"/>
              </a:ext>
            </a:extLst>
          </p:cNvPr>
          <p:cNvSpPr>
            <a:spLocks/>
          </p:cNvSpPr>
          <p:nvPr/>
        </p:nvSpPr>
        <p:spPr bwMode="auto">
          <a:xfrm>
            <a:off x="6336506" y="1555115"/>
            <a:ext cx="1380331" cy="215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anchor="ctr"/>
          <a:lstStyle/>
          <a:p>
            <a:pPr algn="ctr">
              <a:defRPr/>
            </a:pPr>
            <a:fld id="{05716B3F-373E-4C40-8172-CC8CC4774397}" type="datetime'''''Q''''''''''''''''''''''''''2'''''''''''''''''''''''''">
              <a:rPr lang="en-US" sz="1100" b="1">
                <a:solidFill>
                  <a:schemeClr val="tx1"/>
                </a:solidFill>
              </a:rPr>
              <a:pPr algn="ctr">
                <a:defRPr/>
              </a:pPr>
              <a:t>Q2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ktangel 13">
            <a:extLst>
              <a:ext uri="{FF2B5EF4-FFF2-40B4-BE49-F238E27FC236}">
                <a16:creationId xmlns:a16="http://schemas.microsoft.com/office/drawing/2014/main" id="{B103951F-14B2-A7BE-1A4E-C193B76DC479}"/>
              </a:ext>
            </a:extLst>
          </p:cNvPr>
          <p:cNvSpPr>
            <a:spLocks/>
          </p:cNvSpPr>
          <p:nvPr/>
        </p:nvSpPr>
        <p:spPr bwMode="auto">
          <a:xfrm>
            <a:off x="7716837" y="1555115"/>
            <a:ext cx="1395995" cy="215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anchor="ctr"/>
          <a:lstStyle/>
          <a:p>
            <a:pPr algn="ctr">
              <a:defRPr/>
            </a:pPr>
            <a:fld id="{2277D27D-ABB0-4376-85A4-64D68B1DF5FD}" type="datetime'''''Q3'''''''''''''''''''''''''''''''''''''''''''">
              <a:rPr lang="en-US" sz="1100" b="1">
                <a:solidFill>
                  <a:schemeClr val="tx1"/>
                </a:solidFill>
              </a:rPr>
              <a:pPr algn="ctr">
                <a:defRPr/>
              </a:pPr>
              <a:t>Q3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ktangel 14">
            <a:extLst>
              <a:ext uri="{FF2B5EF4-FFF2-40B4-BE49-F238E27FC236}">
                <a16:creationId xmlns:a16="http://schemas.microsoft.com/office/drawing/2014/main" id="{E7ED9691-9DCE-AE70-C8C4-FDD6E668189C}"/>
              </a:ext>
            </a:extLst>
          </p:cNvPr>
          <p:cNvSpPr>
            <a:spLocks/>
          </p:cNvSpPr>
          <p:nvPr/>
        </p:nvSpPr>
        <p:spPr bwMode="auto">
          <a:xfrm>
            <a:off x="9112832" y="1555115"/>
            <a:ext cx="1395995" cy="215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anchor="ctr"/>
          <a:lstStyle/>
          <a:p>
            <a:pPr algn="ctr">
              <a:defRPr/>
            </a:pPr>
            <a:fld id="{B891C5AD-0F72-4B14-AC27-56FA1BB448C9}" type="datetime'''''''''''''''''''Q''''''''''''''''''''''4'">
              <a:rPr lang="en-US" sz="1100" b="1">
                <a:solidFill>
                  <a:schemeClr val="tx1"/>
                </a:solidFill>
              </a:rPr>
              <a:pPr algn="ctr">
                <a:defRPr/>
              </a:pPr>
              <a:t>Q4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14" name="Lige forbindelse 17">
            <a:extLst>
              <a:ext uri="{FF2B5EF4-FFF2-40B4-BE49-F238E27FC236}">
                <a16:creationId xmlns:a16="http://schemas.microsoft.com/office/drawing/2014/main" id="{8C0E6A60-2E3E-9CA0-BA5C-BDF8DBD3E769}"/>
              </a:ext>
            </a:extLst>
          </p:cNvPr>
          <p:cNvCxnSpPr/>
          <p:nvPr/>
        </p:nvCxnSpPr>
        <p:spPr bwMode="auto">
          <a:xfrm>
            <a:off x="1110826" y="1771015"/>
            <a:ext cx="0" cy="36290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ge forbindelse 28">
            <a:extLst>
              <a:ext uri="{FF2B5EF4-FFF2-40B4-BE49-F238E27FC236}">
                <a16:creationId xmlns:a16="http://schemas.microsoft.com/office/drawing/2014/main" id="{2DAF3023-9651-5586-232D-83DA5CE0E024}"/>
              </a:ext>
            </a:extLst>
          </p:cNvPr>
          <p:cNvCxnSpPr/>
          <p:nvPr/>
        </p:nvCxnSpPr>
        <p:spPr bwMode="auto">
          <a:xfrm>
            <a:off x="5439781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Lige forbindelse 16">
            <a:extLst>
              <a:ext uri="{FF2B5EF4-FFF2-40B4-BE49-F238E27FC236}">
                <a16:creationId xmlns:a16="http://schemas.microsoft.com/office/drawing/2014/main" id="{11465EFB-5747-C757-E1C7-23174F3157DE}"/>
              </a:ext>
            </a:extLst>
          </p:cNvPr>
          <p:cNvCxnSpPr/>
          <p:nvPr/>
        </p:nvCxnSpPr>
        <p:spPr bwMode="auto">
          <a:xfrm>
            <a:off x="10508826" y="1771015"/>
            <a:ext cx="0" cy="36290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Lige forbindelse 27">
            <a:extLst>
              <a:ext uri="{FF2B5EF4-FFF2-40B4-BE49-F238E27FC236}">
                <a16:creationId xmlns:a16="http://schemas.microsoft.com/office/drawing/2014/main" id="{332B2F98-2ECB-84DD-8CD8-59CD2A81CB6C}"/>
              </a:ext>
            </a:extLst>
          </p:cNvPr>
          <p:cNvCxnSpPr/>
          <p:nvPr/>
        </p:nvCxnSpPr>
        <p:spPr bwMode="auto">
          <a:xfrm>
            <a:off x="5864648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Lige forbindelse 26">
            <a:extLst>
              <a:ext uri="{FF2B5EF4-FFF2-40B4-BE49-F238E27FC236}">
                <a16:creationId xmlns:a16="http://schemas.microsoft.com/office/drawing/2014/main" id="{65CE7E50-A8B2-0599-4F3B-0DCA73DCBDB3}"/>
              </a:ext>
            </a:extLst>
          </p:cNvPr>
          <p:cNvCxnSpPr/>
          <p:nvPr/>
        </p:nvCxnSpPr>
        <p:spPr bwMode="auto">
          <a:xfrm>
            <a:off x="6336506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Lige forbindelse 25">
            <a:extLst>
              <a:ext uri="{FF2B5EF4-FFF2-40B4-BE49-F238E27FC236}">
                <a16:creationId xmlns:a16="http://schemas.microsoft.com/office/drawing/2014/main" id="{2691E7A0-6C63-D414-E214-E85D4D907B46}"/>
              </a:ext>
            </a:extLst>
          </p:cNvPr>
          <p:cNvCxnSpPr/>
          <p:nvPr/>
        </p:nvCxnSpPr>
        <p:spPr bwMode="auto">
          <a:xfrm>
            <a:off x="6790743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Lige forbindelse 24">
            <a:extLst>
              <a:ext uri="{FF2B5EF4-FFF2-40B4-BE49-F238E27FC236}">
                <a16:creationId xmlns:a16="http://schemas.microsoft.com/office/drawing/2014/main" id="{EDAEEF9C-0800-0F48-CA3B-EC561F3C02F6}"/>
              </a:ext>
            </a:extLst>
          </p:cNvPr>
          <p:cNvCxnSpPr/>
          <p:nvPr/>
        </p:nvCxnSpPr>
        <p:spPr bwMode="auto">
          <a:xfrm>
            <a:off x="7260643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Lige forbindelse 15">
            <a:extLst>
              <a:ext uri="{FF2B5EF4-FFF2-40B4-BE49-F238E27FC236}">
                <a16:creationId xmlns:a16="http://schemas.microsoft.com/office/drawing/2014/main" id="{ECA4BC46-B814-E305-5328-34A251DE3A95}"/>
              </a:ext>
            </a:extLst>
          </p:cNvPr>
          <p:cNvCxnSpPr/>
          <p:nvPr/>
        </p:nvCxnSpPr>
        <p:spPr bwMode="auto">
          <a:xfrm>
            <a:off x="7716837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Lige forbindelse 23">
            <a:extLst>
              <a:ext uri="{FF2B5EF4-FFF2-40B4-BE49-F238E27FC236}">
                <a16:creationId xmlns:a16="http://schemas.microsoft.com/office/drawing/2014/main" id="{480ED3DC-39EC-9C14-D5EC-D923AE233A74}"/>
              </a:ext>
            </a:extLst>
          </p:cNvPr>
          <p:cNvCxnSpPr/>
          <p:nvPr/>
        </p:nvCxnSpPr>
        <p:spPr bwMode="auto">
          <a:xfrm>
            <a:off x="8186737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C4E178C8-5961-D89D-229D-7F0AFB717987}"/>
              </a:ext>
            </a:extLst>
          </p:cNvPr>
          <p:cNvCxnSpPr/>
          <p:nvPr/>
        </p:nvCxnSpPr>
        <p:spPr bwMode="auto">
          <a:xfrm>
            <a:off x="8656637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Lige forbindelse 21">
            <a:extLst>
              <a:ext uri="{FF2B5EF4-FFF2-40B4-BE49-F238E27FC236}">
                <a16:creationId xmlns:a16="http://schemas.microsoft.com/office/drawing/2014/main" id="{E3AC7789-F492-DEEA-E4ED-A5E0E38626A2}"/>
              </a:ext>
            </a:extLst>
          </p:cNvPr>
          <p:cNvCxnSpPr/>
          <p:nvPr/>
        </p:nvCxnSpPr>
        <p:spPr bwMode="auto">
          <a:xfrm>
            <a:off x="9112832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Lige forbindelse 20">
            <a:extLst>
              <a:ext uri="{FF2B5EF4-FFF2-40B4-BE49-F238E27FC236}">
                <a16:creationId xmlns:a16="http://schemas.microsoft.com/office/drawing/2014/main" id="{708ACD41-8E0E-DFAE-6B4A-48B528A2EB93}"/>
              </a:ext>
            </a:extLst>
          </p:cNvPr>
          <p:cNvCxnSpPr/>
          <p:nvPr/>
        </p:nvCxnSpPr>
        <p:spPr bwMode="auto">
          <a:xfrm>
            <a:off x="9582732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Lige forbindelse 19">
            <a:extLst>
              <a:ext uri="{FF2B5EF4-FFF2-40B4-BE49-F238E27FC236}">
                <a16:creationId xmlns:a16="http://schemas.microsoft.com/office/drawing/2014/main" id="{299A85AA-3B7F-E9F2-F5A1-0625F7C1B0A5}"/>
              </a:ext>
            </a:extLst>
          </p:cNvPr>
          <p:cNvCxnSpPr/>
          <p:nvPr/>
        </p:nvCxnSpPr>
        <p:spPr bwMode="auto">
          <a:xfrm>
            <a:off x="10038926" y="1771015"/>
            <a:ext cx="0" cy="36290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Lige forbindelse 18">
            <a:extLst>
              <a:ext uri="{FF2B5EF4-FFF2-40B4-BE49-F238E27FC236}">
                <a16:creationId xmlns:a16="http://schemas.microsoft.com/office/drawing/2014/main" id="{2D0B7C4D-F715-6377-0B8E-52FEC457B564}"/>
              </a:ext>
            </a:extLst>
          </p:cNvPr>
          <p:cNvCxnSpPr/>
          <p:nvPr/>
        </p:nvCxnSpPr>
        <p:spPr bwMode="auto">
          <a:xfrm>
            <a:off x="4969881" y="1771015"/>
            <a:ext cx="0" cy="36290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31">
            <a:extLst>
              <a:ext uri="{FF2B5EF4-FFF2-40B4-BE49-F238E27FC236}">
                <a16:creationId xmlns:a16="http://schemas.microsoft.com/office/drawing/2014/main" id="{19432CCC-2D84-34B4-BE35-5BDB596E9DDF}"/>
              </a:ext>
            </a:extLst>
          </p:cNvPr>
          <p:cNvCxnSpPr/>
          <p:nvPr/>
        </p:nvCxnSpPr>
        <p:spPr bwMode="auto">
          <a:xfrm>
            <a:off x="1110826" y="3753803"/>
            <a:ext cx="9398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30">
            <a:extLst>
              <a:ext uri="{FF2B5EF4-FFF2-40B4-BE49-F238E27FC236}">
                <a16:creationId xmlns:a16="http://schemas.microsoft.com/office/drawing/2014/main" id="{BF188C7E-BA38-8DAA-7BFF-EA6E09663F8F}"/>
              </a:ext>
            </a:extLst>
          </p:cNvPr>
          <p:cNvCxnSpPr/>
          <p:nvPr/>
        </p:nvCxnSpPr>
        <p:spPr bwMode="auto">
          <a:xfrm>
            <a:off x="1110826" y="2929890"/>
            <a:ext cx="9398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32">
            <a:extLst>
              <a:ext uri="{FF2B5EF4-FFF2-40B4-BE49-F238E27FC236}">
                <a16:creationId xmlns:a16="http://schemas.microsoft.com/office/drawing/2014/main" id="{0504F6BB-7625-36FD-0340-1BB0ECB19A44}"/>
              </a:ext>
            </a:extLst>
          </p:cNvPr>
          <p:cNvCxnSpPr/>
          <p:nvPr/>
        </p:nvCxnSpPr>
        <p:spPr bwMode="auto">
          <a:xfrm>
            <a:off x="1110826" y="4576128"/>
            <a:ext cx="9398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forbindelse 29">
            <a:extLst>
              <a:ext uri="{FF2B5EF4-FFF2-40B4-BE49-F238E27FC236}">
                <a16:creationId xmlns:a16="http://schemas.microsoft.com/office/drawing/2014/main" id="{0153028B-65B6-C425-4278-BD15379D693F}"/>
              </a:ext>
            </a:extLst>
          </p:cNvPr>
          <p:cNvCxnSpPr/>
          <p:nvPr/>
        </p:nvCxnSpPr>
        <p:spPr bwMode="auto">
          <a:xfrm>
            <a:off x="1110826" y="5400040"/>
            <a:ext cx="93980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ge forbindelse 33">
            <a:extLst>
              <a:ext uri="{FF2B5EF4-FFF2-40B4-BE49-F238E27FC236}">
                <a16:creationId xmlns:a16="http://schemas.microsoft.com/office/drawing/2014/main" id="{B8732958-EEFC-B43D-CB31-BF6F0F82DBFC}"/>
              </a:ext>
            </a:extLst>
          </p:cNvPr>
          <p:cNvCxnSpPr/>
          <p:nvPr/>
        </p:nvCxnSpPr>
        <p:spPr bwMode="auto">
          <a:xfrm>
            <a:off x="1110826" y="1771015"/>
            <a:ext cx="93980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Ligebenet trekant 38">
            <a:extLst>
              <a:ext uri="{FF2B5EF4-FFF2-40B4-BE49-F238E27FC236}">
                <a16:creationId xmlns:a16="http://schemas.microsoft.com/office/drawing/2014/main" id="{A776BDBF-E1DF-B386-68C4-899B8D702DDC}"/>
              </a:ext>
            </a:extLst>
          </p:cNvPr>
          <p:cNvSpPr/>
          <p:nvPr/>
        </p:nvSpPr>
        <p:spPr bwMode="gray">
          <a:xfrm>
            <a:off x="6581245" y="2721928"/>
            <a:ext cx="14684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4" name="Ligebenet trekant 39">
            <a:extLst>
              <a:ext uri="{FF2B5EF4-FFF2-40B4-BE49-F238E27FC236}">
                <a16:creationId xmlns:a16="http://schemas.microsoft.com/office/drawing/2014/main" id="{17B79D99-DA36-A484-BCA5-38F71DDE7382}"/>
              </a:ext>
            </a:extLst>
          </p:cNvPr>
          <p:cNvSpPr/>
          <p:nvPr/>
        </p:nvSpPr>
        <p:spPr bwMode="gray">
          <a:xfrm>
            <a:off x="7855850" y="4368165"/>
            <a:ext cx="14684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5" name="Ligebenet trekant 41">
            <a:extLst>
              <a:ext uri="{FF2B5EF4-FFF2-40B4-BE49-F238E27FC236}">
                <a16:creationId xmlns:a16="http://schemas.microsoft.com/office/drawing/2014/main" id="{943165B3-069E-C594-58D7-DA46E89449EE}"/>
              </a:ext>
            </a:extLst>
          </p:cNvPr>
          <p:cNvSpPr/>
          <p:nvPr/>
        </p:nvSpPr>
        <p:spPr bwMode="gray">
          <a:xfrm>
            <a:off x="8813270" y="5190490"/>
            <a:ext cx="146844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Ligebenet trekant 37">
            <a:extLst>
              <a:ext uri="{FF2B5EF4-FFF2-40B4-BE49-F238E27FC236}">
                <a16:creationId xmlns:a16="http://schemas.microsoft.com/office/drawing/2014/main" id="{966EDB56-DBA4-661F-4DED-7CA975DE7E60}"/>
              </a:ext>
            </a:extLst>
          </p:cNvPr>
          <p:cNvSpPr/>
          <p:nvPr/>
        </p:nvSpPr>
        <p:spPr bwMode="gray">
          <a:xfrm>
            <a:off x="5353632" y="3285490"/>
            <a:ext cx="146844" cy="103188"/>
          </a:xfrm>
          <a:prstGeom prst="triangl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37" name="Ligebenet trekant 36">
            <a:extLst>
              <a:ext uri="{FF2B5EF4-FFF2-40B4-BE49-F238E27FC236}">
                <a16:creationId xmlns:a16="http://schemas.microsoft.com/office/drawing/2014/main" id="{CF386C6F-FE92-CEB1-E02F-296AFFC1AC22}"/>
              </a:ext>
            </a:extLst>
          </p:cNvPr>
          <p:cNvSpPr/>
          <p:nvPr/>
        </p:nvSpPr>
        <p:spPr bwMode="gray">
          <a:xfrm>
            <a:off x="5944923" y="3544253"/>
            <a:ext cx="14684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8" name="Ligebenet trekant 35">
            <a:extLst>
              <a:ext uri="{FF2B5EF4-FFF2-40B4-BE49-F238E27FC236}">
                <a16:creationId xmlns:a16="http://schemas.microsoft.com/office/drawing/2014/main" id="{792869BF-098E-E949-BE0E-DE3C15270DF8}"/>
              </a:ext>
            </a:extLst>
          </p:cNvPr>
          <p:cNvSpPr/>
          <p:nvPr/>
        </p:nvSpPr>
        <p:spPr bwMode="gray">
          <a:xfrm>
            <a:off x="5520055" y="4931728"/>
            <a:ext cx="146843" cy="103187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9" name="Ligebenet trekant 40">
            <a:extLst>
              <a:ext uri="{FF2B5EF4-FFF2-40B4-BE49-F238E27FC236}">
                <a16:creationId xmlns:a16="http://schemas.microsoft.com/office/drawing/2014/main" id="{1982C74E-30D1-0437-777A-ADAD0DD26643}"/>
              </a:ext>
            </a:extLst>
          </p:cNvPr>
          <p:cNvSpPr/>
          <p:nvPr/>
        </p:nvSpPr>
        <p:spPr bwMode="gray">
          <a:xfrm>
            <a:off x="5367337" y="2125028"/>
            <a:ext cx="146843" cy="103187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40" name="Ligebenet trekant 34">
            <a:extLst>
              <a:ext uri="{FF2B5EF4-FFF2-40B4-BE49-F238E27FC236}">
                <a16:creationId xmlns:a16="http://schemas.microsoft.com/office/drawing/2014/main" id="{83AF0BBF-10D5-CFD2-1E40-0DD360424822}"/>
              </a:ext>
            </a:extLst>
          </p:cNvPr>
          <p:cNvSpPr/>
          <p:nvPr/>
        </p:nvSpPr>
        <p:spPr bwMode="gray">
          <a:xfrm>
            <a:off x="6475518" y="4107815"/>
            <a:ext cx="146844" cy="103187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41" name="Rektangel 46">
            <a:extLst>
              <a:ext uri="{FF2B5EF4-FFF2-40B4-BE49-F238E27FC236}">
                <a16:creationId xmlns:a16="http://schemas.microsoft.com/office/drawing/2014/main" id="{C318B90D-EE3D-4B62-FE58-68E330F4CCB6}"/>
              </a:ext>
            </a:extLst>
          </p:cNvPr>
          <p:cNvSpPr>
            <a:spLocks/>
          </p:cNvSpPr>
          <p:nvPr/>
        </p:nvSpPr>
        <p:spPr bwMode="auto">
          <a:xfrm>
            <a:off x="1332071" y="5163503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42" name="Rektangel 45">
            <a:extLst>
              <a:ext uri="{FF2B5EF4-FFF2-40B4-BE49-F238E27FC236}">
                <a16:creationId xmlns:a16="http://schemas.microsoft.com/office/drawing/2014/main" id="{3AF732E1-6710-4EAE-0671-056A58774362}"/>
              </a:ext>
            </a:extLst>
          </p:cNvPr>
          <p:cNvSpPr>
            <a:spLocks/>
          </p:cNvSpPr>
          <p:nvPr/>
        </p:nvSpPr>
        <p:spPr bwMode="auto">
          <a:xfrm>
            <a:off x="1332070" y="4904740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43" name="Rektangel 55">
            <a:extLst>
              <a:ext uri="{FF2B5EF4-FFF2-40B4-BE49-F238E27FC236}">
                <a16:creationId xmlns:a16="http://schemas.microsoft.com/office/drawing/2014/main" id="{93653E48-52BF-F4D3-5DBC-45FC6A1007C0}"/>
              </a:ext>
            </a:extLst>
          </p:cNvPr>
          <p:cNvSpPr>
            <a:spLocks/>
          </p:cNvSpPr>
          <p:nvPr/>
        </p:nvSpPr>
        <p:spPr bwMode="gray">
          <a:xfrm>
            <a:off x="1332070" y="3822065"/>
            <a:ext cx="1159086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da-DK" sz="1100" dirty="0"/>
              <a:t>Projektspor 3</a:t>
            </a:r>
          </a:p>
        </p:txBody>
      </p:sp>
      <p:sp>
        <p:nvSpPr>
          <p:cNvPr id="44" name="Rektangel 49">
            <a:extLst>
              <a:ext uri="{FF2B5EF4-FFF2-40B4-BE49-F238E27FC236}">
                <a16:creationId xmlns:a16="http://schemas.microsoft.com/office/drawing/2014/main" id="{1452CB43-64EB-DE7F-7F1A-C68188437574}"/>
              </a:ext>
            </a:extLst>
          </p:cNvPr>
          <p:cNvSpPr>
            <a:spLocks/>
          </p:cNvSpPr>
          <p:nvPr/>
        </p:nvSpPr>
        <p:spPr bwMode="auto">
          <a:xfrm>
            <a:off x="1332071" y="2098040"/>
            <a:ext cx="3416565" cy="5048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en-US" sz="1100" dirty="0" err="1">
                <a:solidFill>
                  <a:schemeClr val="tx1"/>
                </a:solidFill>
              </a:rPr>
              <a:t>Milepæl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typisk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vigtig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beslutninger</a:t>
            </a:r>
            <a:r>
              <a:rPr lang="en-US" sz="1100" dirty="0">
                <a:solidFill>
                  <a:schemeClr val="tx1"/>
                </a:solidFill>
              </a:rPr>
              <a:t>,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leveranc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af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slutprodukt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ll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andr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 err="1">
                <a:solidFill>
                  <a:schemeClr val="tx1"/>
                </a:solidFill>
              </a:rPr>
              <a:t>kritiske</a:t>
            </a:r>
            <a:r>
              <a:rPr lang="en-US" sz="1100" dirty="0">
                <a:solidFill>
                  <a:schemeClr val="tx1"/>
                </a:solidFill>
              </a:rPr>
              <a:t> deadlines</a:t>
            </a:r>
            <a:endParaRPr lang="da-DK" sz="11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5" name="Rektangel 52">
            <a:extLst>
              <a:ext uri="{FF2B5EF4-FFF2-40B4-BE49-F238E27FC236}">
                <a16:creationId xmlns:a16="http://schemas.microsoft.com/office/drawing/2014/main" id="{5D93BC13-8937-BF80-0E11-D262D10EFD1D}"/>
              </a:ext>
            </a:extLst>
          </p:cNvPr>
          <p:cNvSpPr>
            <a:spLocks/>
          </p:cNvSpPr>
          <p:nvPr/>
        </p:nvSpPr>
        <p:spPr bwMode="auto">
          <a:xfrm>
            <a:off x="1332070" y="2694940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en-US" sz="1100" dirty="0" err="1">
                <a:solidFill>
                  <a:schemeClr val="tx1"/>
                </a:solidFill>
              </a:rPr>
              <a:t>Milepæl</a:t>
            </a:r>
            <a:endParaRPr lang="da-DK" sz="11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6" name="Rektangel 53">
            <a:extLst>
              <a:ext uri="{FF2B5EF4-FFF2-40B4-BE49-F238E27FC236}">
                <a16:creationId xmlns:a16="http://schemas.microsoft.com/office/drawing/2014/main" id="{46A9A752-1697-FB36-A052-4A7B441284C7}"/>
              </a:ext>
            </a:extLst>
          </p:cNvPr>
          <p:cNvSpPr>
            <a:spLocks/>
          </p:cNvSpPr>
          <p:nvPr/>
        </p:nvSpPr>
        <p:spPr bwMode="gray">
          <a:xfrm>
            <a:off x="1332071" y="2998153"/>
            <a:ext cx="10142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marL="180975" indent="-180975">
              <a:defRPr/>
            </a:pPr>
            <a:r>
              <a:rPr lang="da-DK" sz="1100" dirty="0">
                <a:latin typeface="Arial" charset="0"/>
              </a:rPr>
              <a:t>Projektspor 2</a:t>
            </a:r>
          </a:p>
        </p:txBody>
      </p:sp>
      <p:sp>
        <p:nvSpPr>
          <p:cNvPr id="47" name="Rektangel 51">
            <a:extLst>
              <a:ext uri="{FF2B5EF4-FFF2-40B4-BE49-F238E27FC236}">
                <a16:creationId xmlns:a16="http://schemas.microsoft.com/office/drawing/2014/main" id="{A06B4185-70CA-8305-FCDE-4A0382D8962A}"/>
              </a:ext>
            </a:extLst>
          </p:cNvPr>
          <p:cNvSpPr>
            <a:spLocks/>
          </p:cNvSpPr>
          <p:nvPr/>
        </p:nvSpPr>
        <p:spPr bwMode="auto">
          <a:xfrm>
            <a:off x="1332070" y="3258503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en-US" sz="1100" dirty="0" err="1">
                <a:solidFill>
                  <a:schemeClr val="tx1"/>
                </a:solidFill>
              </a:rPr>
              <a:t>Milepæl</a:t>
            </a:r>
            <a:endParaRPr lang="da-DK" sz="11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8" name="Rektangel 54">
            <a:extLst>
              <a:ext uri="{FF2B5EF4-FFF2-40B4-BE49-F238E27FC236}">
                <a16:creationId xmlns:a16="http://schemas.microsoft.com/office/drawing/2014/main" id="{6835CA35-996F-450D-D984-5B74E3984316}"/>
              </a:ext>
            </a:extLst>
          </p:cNvPr>
          <p:cNvSpPr>
            <a:spLocks/>
          </p:cNvSpPr>
          <p:nvPr/>
        </p:nvSpPr>
        <p:spPr bwMode="auto">
          <a:xfrm>
            <a:off x="1332071" y="3517265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49" name="Rektangel 42">
            <a:extLst>
              <a:ext uri="{FF2B5EF4-FFF2-40B4-BE49-F238E27FC236}">
                <a16:creationId xmlns:a16="http://schemas.microsoft.com/office/drawing/2014/main" id="{D7876EF1-DA23-512A-90C8-ECB73BFEFD66}"/>
              </a:ext>
            </a:extLst>
          </p:cNvPr>
          <p:cNvSpPr>
            <a:spLocks/>
          </p:cNvSpPr>
          <p:nvPr/>
        </p:nvSpPr>
        <p:spPr bwMode="auto">
          <a:xfrm>
            <a:off x="1332071" y="4080828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50" name="Rektangel 43">
            <a:extLst>
              <a:ext uri="{FF2B5EF4-FFF2-40B4-BE49-F238E27FC236}">
                <a16:creationId xmlns:a16="http://schemas.microsoft.com/office/drawing/2014/main" id="{59C67BF6-C3D0-4529-413E-07378455B4C5}"/>
              </a:ext>
            </a:extLst>
          </p:cNvPr>
          <p:cNvSpPr>
            <a:spLocks/>
          </p:cNvSpPr>
          <p:nvPr/>
        </p:nvSpPr>
        <p:spPr bwMode="auto">
          <a:xfrm>
            <a:off x="1332071" y="4341178"/>
            <a:ext cx="65981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51" name="Rektangel 47">
            <a:extLst>
              <a:ext uri="{FF2B5EF4-FFF2-40B4-BE49-F238E27FC236}">
                <a16:creationId xmlns:a16="http://schemas.microsoft.com/office/drawing/2014/main" id="{DB2D684A-6557-3D42-1508-8FE35DF8C852}"/>
              </a:ext>
            </a:extLst>
          </p:cNvPr>
          <p:cNvSpPr/>
          <p:nvPr/>
        </p:nvSpPr>
        <p:spPr bwMode="auto">
          <a:xfrm>
            <a:off x="1332071" y="1578928"/>
            <a:ext cx="58737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>
              <a:defRPr/>
            </a:pPr>
            <a:r>
              <a:rPr lang="en-US" sz="1100" b="1" dirty="0">
                <a:solidFill>
                  <a:schemeClr val="tx1"/>
                </a:solidFill>
              </a:rPr>
              <a:t> </a:t>
            </a:r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ktangel 44">
            <a:extLst>
              <a:ext uri="{FF2B5EF4-FFF2-40B4-BE49-F238E27FC236}">
                <a16:creationId xmlns:a16="http://schemas.microsoft.com/office/drawing/2014/main" id="{0974DFCD-E89B-08F4-E1C8-A98325CCF256}"/>
              </a:ext>
            </a:extLst>
          </p:cNvPr>
          <p:cNvSpPr>
            <a:spLocks/>
          </p:cNvSpPr>
          <p:nvPr/>
        </p:nvSpPr>
        <p:spPr bwMode="gray">
          <a:xfrm>
            <a:off x="1332073" y="4644390"/>
            <a:ext cx="10142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marL="180975" indent="-180975">
              <a:defRPr/>
            </a:pPr>
            <a:r>
              <a:rPr lang="da-DK" sz="1100" dirty="0">
                <a:latin typeface="Arial" charset="0"/>
              </a:rPr>
              <a:t>Projektspor 4</a:t>
            </a:r>
            <a:endParaRPr lang="da-DK" sz="1100" dirty="0"/>
          </a:p>
        </p:txBody>
      </p:sp>
      <p:sp>
        <p:nvSpPr>
          <p:cNvPr id="53" name="Rektangel 48">
            <a:extLst>
              <a:ext uri="{FF2B5EF4-FFF2-40B4-BE49-F238E27FC236}">
                <a16:creationId xmlns:a16="http://schemas.microsoft.com/office/drawing/2014/main" id="{711BFF25-7F1C-DF7D-3CE9-DC905B634EDB}"/>
              </a:ext>
            </a:extLst>
          </p:cNvPr>
          <p:cNvSpPr/>
          <p:nvPr/>
        </p:nvSpPr>
        <p:spPr bwMode="gray">
          <a:xfrm>
            <a:off x="1332070" y="1839278"/>
            <a:ext cx="1159086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marL="180975" indent="-180975">
              <a:defRPr/>
            </a:pPr>
            <a:r>
              <a:rPr lang="da-DK" sz="1100" dirty="0"/>
              <a:t>Projektspor 1</a:t>
            </a:r>
          </a:p>
        </p:txBody>
      </p:sp>
      <p:sp>
        <p:nvSpPr>
          <p:cNvPr id="54" name="Rektangel 50">
            <a:extLst>
              <a:ext uri="{FF2B5EF4-FFF2-40B4-BE49-F238E27FC236}">
                <a16:creationId xmlns:a16="http://schemas.microsoft.com/office/drawing/2014/main" id="{DFA37AA1-7C19-58BF-B351-69E45C968834}"/>
              </a:ext>
            </a:extLst>
          </p:cNvPr>
          <p:cNvSpPr>
            <a:spLocks/>
          </p:cNvSpPr>
          <p:nvPr/>
        </p:nvSpPr>
        <p:spPr bwMode="auto">
          <a:xfrm>
            <a:off x="1332071" y="5503228"/>
            <a:ext cx="1456690" cy="12223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t"/>
          <a:lstStyle/>
          <a:p>
            <a:pPr>
              <a:defRPr/>
            </a:pPr>
            <a:r>
              <a:rPr lang="en-US" sz="800" dirty="0" err="1">
                <a:solidFill>
                  <a:schemeClr val="tx1"/>
                </a:solidFill>
              </a:rPr>
              <a:t>Noter</a:t>
            </a:r>
            <a:r>
              <a:rPr lang="en-US" sz="800" dirty="0">
                <a:solidFill>
                  <a:schemeClr val="tx1"/>
                </a:solidFill>
              </a:rPr>
              <a:t>: [ </a:t>
            </a:r>
            <a:r>
              <a:rPr lang="en-US" sz="800" dirty="0" err="1">
                <a:solidFill>
                  <a:schemeClr val="tx1"/>
                </a:solidFill>
              </a:rPr>
              <a:t>indsæt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noter</a:t>
            </a:r>
            <a:r>
              <a:rPr lang="en-US" sz="800" dirty="0">
                <a:solidFill>
                  <a:schemeClr val="tx1"/>
                </a:solidFill>
              </a:rPr>
              <a:t> ]</a:t>
            </a:r>
            <a:endParaRPr lang="da-DK" sz="800" dirty="0">
              <a:solidFill>
                <a:schemeClr val="tx1"/>
              </a:solidFill>
              <a:latin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865014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ADB2551-4294-1BC2-2B3A-1983A87106B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75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DB2551-4294-1BC2-2B3A-1983A8710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9052B5-8538-8533-6A31-8732E14BE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4. Ressourc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10930-B1AD-0C41-C8DE-FB1A9CD8C7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7</a:t>
            </a:fld>
            <a:endParaRPr lang="da-DK" dirty="0"/>
          </a:p>
        </p:txBody>
      </p:sp>
      <p:graphicFrame>
        <p:nvGraphicFramePr>
          <p:cNvPr id="5" name="Tabel 6">
            <a:extLst>
              <a:ext uri="{FF2B5EF4-FFF2-40B4-BE49-F238E27FC236}">
                <a16:creationId xmlns:a16="http://schemas.microsoft.com/office/drawing/2014/main" id="{832A9994-4D3E-C450-E3FD-039E78F55C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130086"/>
              </p:ext>
            </p:extLst>
          </p:nvPr>
        </p:nvGraphicFramePr>
        <p:xfrm>
          <a:off x="1124680" y="1287046"/>
          <a:ext cx="9942640" cy="2049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7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1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6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6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6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76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0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Ressourcebehov per</a:t>
                      </a:r>
                      <a:r>
                        <a:rPr lang="da-DK" sz="800" b="1" baseline="0" dirty="0"/>
                        <a:t> funktion</a:t>
                      </a:r>
                      <a:endParaRPr lang="da-DK" sz="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/>
                    </a:p>
                  </a:txBody>
                  <a:tcP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a-DK" sz="800" b="1" dirty="0"/>
                        <a:t>FTE</a:t>
                      </a:r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724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b="1" dirty="0"/>
                        <a:t>Organisation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Q1 20XX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Q2 20XX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Q3 20XX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Q4 20XXX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Enhedsnavn ]</a:t>
                      </a:r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Enheds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Enheds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Enheds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Enheds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92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 gridSpan="6">
                  <a:txBody>
                    <a:bodyPr/>
                    <a:lstStyle/>
                    <a:p>
                      <a:r>
                        <a:rPr lang="da-DK" sz="700" dirty="0"/>
                        <a:t>Noter: [ Indsæt noter ]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6" name="Tabel 7">
            <a:extLst>
              <a:ext uri="{FF2B5EF4-FFF2-40B4-BE49-F238E27FC236}">
                <a16:creationId xmlns:a16="http://schemas.microsoft.com/office/drawing/2014/main" id="{B9AC9480-93C6-73D6-66DE-321F81F5D9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585530"/>
              </p:ext>
            </p:extLst>
          </p:nvPr>
        </p:nvGraphicFramePr>
        <p:xfrm>
          <a:off x="1124680" y="3447286"/>
          <a:ext cx="9945600" cy="2475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9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1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9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6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0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Overblik over specifikke ressourc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/>
                    </a:p>
                  </a:txBody>
                  <a:tcP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da-DK" sz="800" b="1" dirty="0"/>
                    </a:p>
                  </a:txBody>
                  <a:tcP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724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Top 5-8 kritiske  personer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Enhed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Periode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b="1" dirty="0"/>
                        <a:t>% af tid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Period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800" dirty="0"/>
                        <a:t>[ XX%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92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 gridSpan="5">
                  <a:txBody>
                    <a:bodyPr/>
                    <a:lstStyle/>
                    <a:p>
                      <a:r>
                        <a:rPr lang="da-DK" sz="700" dirty="0"/>
                        <a:t>Noter: [ Indsæt not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6477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F96274-B1F7-787E-A4F3-43CB26C1024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71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96274-B1F7-787E-A4F3-43CB26C10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E156D1-B2D7-679D-D1F6-93C4BC144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5. </a:t>
            </a:r>
            <a:r>
              <a:rPr lang="da-DK" dirty="0" err="1"/>
              <a:t>KPI’er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3A6FAA-2255-9275-74FA-17555CFF5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8</a:t>
            </a:fld>
            <a:endParaRPr lang="da-DK" dirty="0"/>
          </a:p>
        </p:txBody>
      </p:sp>
      <p:graphicFrame>
        <p:nvGraphicFramePr>
          <p:cNvPr id="5" name="Tabel 6">
            <a:extLst>
              <a:ext uri="{FF2B5EF4-FFF2-40B4-BE49-F238E27FC236}">
                <a16:creationId xmlns:a16="http://schemas.microsoft.com/office/drawing/2014/main" id="{0D42A483-C022-D39D-20F4-13349EDFCC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147926"/>
              </p:ext>
            </p:extLst>
          </p:nvPr>
        </p:nvGraphicFramePr>
        <p:xfrm>
          <a:off x="1389077" y="1700808"/>
          <a:ext cx="10075548" cy="35827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0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31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531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531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b="1" dirty="0"/>
                    </a:p>
                  </a:txBody>
                  <a:tcPr marL="0" marR="0" marT="0" marB="0"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Targets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232">
                <a:tc>
                  <a:txBody>
                    <a:bodyPr/>
                    <a:lstStyle/>
                    <a:p>
                      <a:r>
                        <a:rPr lang="da-DK" sz="1000" b="1" dirty="0"/>
                        <a:t>#</a:t>
                      </a:r>
                    </a:p>
                  </a:txBody>
                  <a:tcP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Projektspor</a:t>
                      </a:r>
                    </a:p>
                  </a:txBody>
                  <a:tcP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b="1" dirty="0"/>
                    </a:p>
                  </a:txBody>
                  <a:tcPr marL="0" marR="0" marT="0" marB="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1 20XX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2 20XX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3</a:t>
                      </a:r>
                      <a:r>
                        <a:rPr lang="da-DK" sz="1000" b="1" baseline="0" dirty="0"/>
                        <a:t> 20XX</a:t>
                      </a:r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4 20XX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800" b="1" dirty="0"/>
                        <a:t>1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b="1" dirty="0"/>
                        <a:t>[ Navn på projektspor ]</a:t>
                      </a:r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800" b="1" dirty="0"/>
                        <a:t>2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b="1" dirty="0"/>
                        <a:t>[ Navn på projektspor ]</a:t>
                      </a:r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800" b="1" dirty="0"/>
                        <a:t>3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b="1" dirty="0"/>
                        <a:t>[ Navn på projektspor ]</a:t>
                      </a:r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800" b="1" dirty="0"/>
                        <a:t>4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800" b="1" dirty="0"/>
                        <a:t>[ Navn på projektspor ]</a:t>
                      </a:r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  <a:p>
                      <a:r>
                        <a:rPr lang="da-DK" sz="800" dirty="0"/>
                        <a:t> - [ Navn på KPI ]</a:t>
                      </a:r>
                    </a:p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  <a:p>
                      <a:pPr algn="ctr"/>
                      <a:endParaRPr lang="da-DK" sz="800" dirty="0"/>
                    </a:p>
                    <a:p>
                      <a:pPr algn="ctr"/>
                      <a:r>
                        <a:rPr lang="da-DK" sz="8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2654">
                <a:tc gridSpan="7">
                  <a:txBody>
                    <a:bodyPr/>
                    <a:lstStyle/>
                    <a:p>
                      <a:r>
                        <a:rPr lang="da-DK" sz="800" dirty="0"/>
                        <a:t>Noter: [ Indsæt not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9947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3CB62D-714E-8C94-101B-0BF69974A4D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186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CB62D-714E-8C94-101B-0BF69974A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61DAAE-1341-C2D1-5C12-93480AD10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6. Risic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9FD090-8378-3481-8E5A-4F77D425EC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9</a:t>
            </a:fld>
            <a:endParaRPr lang="da-DK" dirty="0"/>
          </a:p>
        </p:txBody>
      </p:sp>
      <p:graphicFrame>
        <p:nvGraphicFramePr>
          <p:cNvPr id="5" name="Tabel 6">
            <a:extLst>
              <a:ext uri="{FF2B5EF4-FFF2-40B4-BE49-F238E27FC236}">
                <a16:creationId xmlns:a16="http://schemas.microsoft.com/office/drawing/2014/main" id="{D3335ED8-EFF7-E9C3-344F-52FA8F4B69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229370"/>
              </p:ext>
            </p:extLst>
          </p:nvPr>
        </p:nvGraphicFramePr>
        <p:xfrm>
          <a:off x="1181485" y="1688220"/>
          <a:ext cx="9829029" cy="3481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14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68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858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584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2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6724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Top 5-8 risici ved projektet</a:t>
                      </a:r>
                    </a:p>
                  </a:txBody>
                  <a:tcPr anchor="b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 anchor="b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Plan for</a:t>
                      </a:r>
                      <a:r>
                        <a:rPr lang="da-DK" sz="800" b="1" baseline="0" dirty="0"/>
                        <a:t> minimering af risiko</a:t>
                      </a:r>
                      <a:endParaRPr lang="da-DK" sz="800" b="1" dirty="0"/>
                    </a:p>
                  </a:txBody>
                  <a:tcPr anchor="b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Ansvarlig</a:t>
                      </a:r>
                    </a:p>
                  </a:txBody>
                  <a:tcPr anchor="b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Sandsynlighed</a:t>
                      </a:r>
                      <a:r>
                        <a:rPr lang="da-DK" sz="800" b="1" baseline="0" dirty="0"/>
                        <a:t> for hændelse</a:t>
                      </a:r>
                      <a:endParaRPr lang="da-DK" sz="800" b="1" dirty="0"/>
                    </a:p>
                  </a:txBody>
                  <a:tcPr anchor="b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Betydning ved hændelse</a:t>
                      </a:r>
                    </a:p>
                  </a:txBody>
                  <a:tcPr anchor="b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. Husk at risiko også er forudsætninger og afhængigheder ]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Risiko i en sætning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da-DK" sz="800" dirty="0"/>
                        <a:t>[</a:t>
                      </a:r>
                      <a:r>
                        <a:rPr lang="da-DK" sz="800" baseline="0" dirty="0"/>
                        <a:t> Få korte </a:t>
                      </a:r>
                      <a:r>
                        <a:rPr lang="da-DK" sz="800" baseline="0" dirty="0" err="1"/>
                        <a:t>bullets</a:t>
                      </a:r>
                      <a:r>
                        <a:rPr lang="da-DK" sz="800" baseline="0" dirty="0"/>
                        <a:t> på handlinger til at minimere risiko ]</a:t>
                      </a:r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Hvem er ansvarlig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dirty="0"/>
                        <a:t>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92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 gridSpan="6">
                  <a:txBody>
                    <a:bodyPr/>
                    <a:lstStyle/>
                    <a:p>
                      <a:r>
                        <a:rPr lang="da-DK" sz="700" dirty="0"/>
                        <a:t>Noter: [ Indsæt not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25FA2322-5636-BE69-3E28-E6D9A3B3C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9899086" y="4261881"/>
            <a:ext cx="511518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id="{71BE350F-E058-751D-1A86-2A2717522B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auto">
          <a:xfrm>
            <a:off x="9899086" y="4612536"/>
            <a:ext cx="500521" cy="24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>
            <a:extLst>
              <a:ext uri="{FF2B5EF4-FFF2-40B4-BE49-F238E27FC236}">
                <a16:creationId xmlns:a16="http://schemas.microsoft.com/office/drawing/2014/main" id="{D6E3CD69-190F-3B1B-DED3-67832D71A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</a:blip>
          <a:srcRect/>
          <a:stretch>
            <a:fillRect/>
          </a:stretch>
        </p:blipFill>
        <p:spPr bwMode="auto">
          <a:xfrm>
            <a:off x="9899086" y="3963768"/>
            <a:ext cx="500522" cy="24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3">
            <a:extLst>
              <a:ext uri="{FF2B5EF4-FFF2-40B4-BE49-F238E27FC236}">
                <a16:creationId xmlns:a16="http://schemas.microsoft.com/office/drawing/2014/main" id="{FDE23A48-C09F-06E4-5CDE-5E8B2431B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9087" y="3604423"/>
            <a:ext cx="500521" cy="24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EE3C445-5B22-D173-6B7C-A459FFA98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9899086" y="2949612"/>
            <a:ext cx="511518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5">
            <a:extLst>
              <a:ext uri="{FF2B5EF4-FFF2-40B4-BE49-F238E27FC236}">
                <a16:creationId xmlns:a16="http://schemas.microsoft.com/office/drawing/2014/main" id="{88CEF815-F6ED-2B46-1A52-1F63CD7D4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auto">
          <a:xfrm>
            <a:off x="9899086" y="3272396"/>
            <a:ext cx="500521" cy="24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1121685-C0C9-EE36-697A-1949B99D4D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</a:blip>
          <a:srcRect/>
          <a:stretch>
            <a:fillRect/>
          </a:stretch>
        </p:blipFill>
        <p:spPr bwMode="auto">
          <a:xfrm>
            <a:off x="9899086" y="2622720"/>
            <a:ext cx="500521" cy="24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3">
            <a:extLst>
              <a:ext uri="{FF2B5EF4-FFF2-40B4-BE49-F238E27FC236}">
                <a16:creationId xmlns:a16="http://schemas.microsoft.com/office/drawing/2014/main" id="{BF23A461-1083-6B1C-FF7E-76DCE74DD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9087" y="2236271"/>
            <a:ext cx="500521" cy="24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0E241E82-F1F6-BFFB-EC26-5441CAAD9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8641512" y="4243062"/>
            <a:ext cx="511518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5">
            <a:extLst>
              <a:ext uri="{FF2B5EF4-FFF2-40B4-BE49-F238E27FC236}">
                <a16:creationId xmlns:a16="http://schemas.microsoft.com/office/drawing/2014/main" id="{B00364A1-53E3-F6B2-47FF-D77C67B03F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auto">
          <a:xfrm>
            <a:off x="8641512" y="4593717"/>
            <a:ext cx="500521" cy="24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4">
            <a:extLst>
              <a:ext uri="{FF2B5EF4-FFF2-40B4-BE49-F238E27FC236}">
                <a16:creationId xmlns:a16="http://schemas.microsoft.com/office/drawing/2014/main" id="{B47C3972-670B-69EE-710A-46D5A53BB1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</a:blip>
          <a:srcRect/>
          <a:stretch>
            <a:fillRect/>
          </a:stretch>
        </p:blipFill>
        <p:spPr bwMode="auto">
          <a:xfrm>
            <a:off x="8641512" y="3944949"/>
            <a:ext cx="500522" cy="24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3">
            <a:extLst>
              <a:ext uri="{FF2B5EF4-FFF2-40B4-BE49-F238E27FC236}">
                <a16:creationId xmlns:a16="http://schemas.microsoft.com/office/drawing/2014/main" id="{98BFA460-1289-AACE-BD47-5AFDE8A63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1514" y="3585604"/>
            <a:ext cx="500521" cy="24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49698D80-866A-AE4B-A825-C884DD7C4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8641512" y="2930793"/>
            <a:ext cx="511518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5">
            <a:extLst>
              <a:ext uri="{FF2B5EF4-FFF2-40B4-BE49-F238E27FC236}">
                <a16:creationId xmlns:a16="http://schemas.microsoft.com/office/drawing/2014/main" id="{82DD1F7C-C6BA-48FA-C8F3-AC2AFF2F28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auto">
          <a:xfrm>
            <a:off x="8641512" y="3253577"/>
            <a:ext cx="500521" cy="24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4">
            <a:extLst>
              <a:ext uri="{FF2B5EF4-FFF2-40B4-BE49-F238E27FC236}">
                <a16:creationId xmlns:a16="http://schemas.microsoft.com/office/drawing/2014/main" id="{81266416-687F-EE14-4F74-9F70118C0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</a:blip>
          <a:srcRect/>
          <a:stretch>
            <a:fillRect/>
          </a:stretch>
        </p:blipFill>
        <p:spPr bwMode="auto">
          <a:xfrm>
            <a:off x="8641512" y="2603901"/>
            <a:ext cx="500521" cy="24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3">
            <a:extLst>
              <a:ext uri="{FF2B5EF4-FFF2-40B4-BE49-F238E27FC236}">
                <a16:creationId xmlns:a16="http://schemas.microsoft.com/office/drawing/2014/main" id="{6B829724-1211-52F8-7408-9340C08D3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1514" y="2217452"/>
            <a:ext cx="500521" cy="24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4011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ableOfContents TableOfContentsShowsSubsections AgendaSlide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5cUha_SmeQ6Hwn09lN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r8geu246_v0W_DWubV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zZi5ibRNoKQyy4OCk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b8o562aJVCp6.PvRnN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d99tOOtodBELw5zzN2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meO_dPv4doD_J2rVs7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aHNy1NSJjUuhO867Y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dA2TnhUtOZQBMHk19u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5ror5r9kkjx7tqTmLl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4A9974D-ACA6-469A-947C-CED5CE1CB709}">
  <we:reference id="wa200010001" version="1.0.0.1" store="en-US" storeType="OMEX"/>
  <we:alternateReferences>
    <we:reference id="wa200010001" version="1.0.0.1" store="" storeType="OMEX"/>
  </we:alternateReferences>
  <we:properties>
    <we:property name="claude.fileId" value="&quot;c4b8f474-570c-4291-8b59-8edc5a9644bc&quot;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746</TotalTime>
  <Words>2168</Words>
  <Application>Microsoft Office PowerPoint</Application>
  <PresentationFormat>Widescreen</PresentationFormat>
  <Paragraphs>612</Paragraphs>
  <Slides>16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[ virksomhed ]</vt:lpstr>
      <vt:lpstr>Arial</vt:lpstr>
      <vt:lpstr>Calibri</vt:lpstr>
      <vt:lpstr>Verdana</vt:lpstr>
      <vt:lpstr>Wingdings</vt:lpstr>
      <vt:lpstr>struktureretsundfornuft-dk</vt:lpstr>
      <vt:lpstr>struktureretsundfornuft-dk</vt:lpstr>
      <vt:lpstr>think-cell Slide</vt:lpstr>
      <vt:lpstr>[ Projektnavn ]</vt:lpstr>
      <vt:lpstr>About This Template</vt:lpstr>
      <vt:lpstr>INDHOLD</vt:lpstr>
      <vt:lpstr>1. Formål for [ Projektnavn ]</vt:lpstr>
      <vt:lpstr>2. Projektspor og væsentlige leverancer</vt:lpstr>
      <vt:lpstr>3. Milepæle</vt:lpstr>
      <vt:lpstr>4. Ressourcer</vt:lpstr>
      <vt:lpstr>5. KPI’er</vt:lpstr>
      <vt:lpstr>6. Risici</vt:lpstr>
      <vt:lpstr>7. Organisering</vt:lpstr>
      <vt:lpstr>8. Planlagt rapportering og kommunikation</vt:lpstr>
      <vt:lpstr>Bilag</vt:lpstr>
      <vt:lpstr>Business Case Light</vt:lpstr>
      <vt:lpstr>[ KPI definition – skriv navn som overskrift ]</vt:lpstr>
      <vt:lpstr>Interessenter</vt:lpstr>
      <vt:lpstr>Projektidé: [ Navn på idé ]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n Bleeker Pedersen</dc:creator>
  <cp:lastModifiedBy>Dann Bleeker Pedersen</cp:lastModifiedBy>
  <cp:revision>3</cp:revision>
  <dcterms:created xsi:type="dcterms:W3CDTF">2019-03-29T08:31:38Z</dcterms:created>
  <dcterms:modified xsi:type="dcterms:W3CDTF">2026-07-11T18:38:35Z</dcterms:modified>
</cp:coreProperties>
</file>